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1"/>
  </p:sldMasterIdLst>
  <p:notesMasterIdLst>
    <p:notesMasterId r:id="rId5"/>
  </p:notesMasterIdLst>
  <p:handoutMasterIdLst>
    <p:handoutMasterId r:id="rId6"/>
  </p:handoutMasterIdLst>
  <p:sldIdLst>
    <p:sldId id="2337" r:id="rId2"/>
    <p:sldId id="2331" r:id="rId3"/>
    <p:sldId id="2336" r:id="rId4"/>
  </p:sldIdLst>
  <p:sldSz cx="12192000" cy="6858000"/>
  <p:notesSz cx="6797675" cy="9928225"/>
  <p:custShowLst>
    <p:custShow name="Format Guide Workshop" id="0">
      <p:sldLst/>
    </p:custShow>
  </p:custShowLst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uzmina, Daria" initials="KD" lastIdx="1" clrIdx="0">
    <p:extLst>
      <p:ext uri="{19B8F6BF-5375-455C-9EA6-DF929625EA0E}">
        <p15:presenceInfo xmlns:p15="http://schemas.microsoft.com/office/powerpoint/2012/main" userId="Kuzmina, Dari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1B4E1"/>
    <a:srgbClr val="345782"/>
    <a:srgbClr val="ABD380"/>
    <a:srgbClr val="FCEB84"/>
    <a:srgbClr val="F9B67F"/>
    <a:srgbClr val="FA9F75"/>
    <a:srgbClr val="FCBB7A"/>
    <a:srgbClr val="E5E483"/>
    <a:srgbClr val="A0D07F"/>
    <a:srgbClr val="FDCC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843" autoAdjust="0"/>
    <p:restoredTop sz="94148" autoAdjust="0"/>
  </p:normalViewPr>
  <p:slideViewPr>
    <p:cSldViewPr snapToGrid="0">
      <p:cViewPr varScale="1">
        <p:scale>
          <a:sx n="93" d="100"/>
          <a:sy n="93" d="100"/>
        </p:scale>
        <p:origin x="216" y="56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5592"/>
    </p:cViewPr>
  </p:sorterViewPr>
  <p:notesViewPr>
    <p:cSldViewPr snapToGrid="0">
      <p:cViewPr>
        <p:scale>
          <a:sx n="75" d="100"/>
          <a:sy n="75" d="100"/>
        </p:scale>
        <p:origin x="2574" y="444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8B26B64-8DD6-4EFF-91BB-C393C1FA1D0B}" type="doc">
      <dgm:prSet loTypeId="urn:microsoft.com/office/officeart/2008/layout/Square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EF66465-69BB-429B-B98C-0D01CF15F9C7}">
      <dgm:prSet phldrT="[Текст]"/>
      <dgm:spPr/>
      <dgm:t>
        <a:bodyPr/>
        <a:lstStyle/>
        <a:p>
          <a:r>
            <a:rPr lang="ru-RU" dirty="0"/>
            <a:t>Работа с экспертами </a:t>
          </a:r>
        </a:p>
      </dgm:t>
    </dgm:pt>
    <dgm:pt modelId="{B0FD469A-011F-423B-80C7-6EC253ADD4B7}" type="parTrans" cxnId="{2D04E5B4-9A3D-4B6C-860F-61EC444A6F4D}">
      <dgm:prSet/>
      <dgm:spPr/>
      <dgm:t>
        <a:bodyPr/>
        <a:lstStyle/>
        <a:p>
          <a:endParaRPr lang="ru-RU"/>
        </a:p>
      </dgm:t>
    </dgm:pt>
    <dgm:pt modelId="{05A39026-6A5B-4C12-9392-9CECE187AD88}" type="sibTrans" cxnId="{2D04E5B4-9A3D-4B6C-860F-61EC444A6F4D}">
      <dgm:prSet/>
      <dgm:spPr/>
      <dgm:t>
        <a:bodyPr/>
        <a:lstStyle/>
        <a:p>
          <a:endParaRPr lang="ru-RU"/>
        </a:p>
      </dgm:t>
    </dgm:pt>
    <dgm:pt modelId="{181C8DC9-365B-4953-B0B3-AB89FA2A10FC}">
      <dgm:prSet phldrT="[Текст]"/>
      <dgm:spPr/>
      <dgm:t>
        <a:bodyPr/>
        <a:lstStyle/>
        <a:p>
          <a:r>
            <a:rPr lang="ru-RU" dirty="0"/>
            <a:t>Сбор группы</a:t>
          </a:r>
        </a:p>
      </dgm:t>
    </dgm:pt>
    <dgm:pt modelId="{FFC72875-752C-46FE-A8C8-6C7E2CFAF0BF}" type="parTrans" cxnId="{D9450D04-C26B-40D5-B232-C6642D149063}">
      <dgm:prSet/>
      <dgm:spPr/>
      <dgm:t>
        <a:bodyPr/>
        <a:lstStyle/>
        <a:p>
          <a:endParaRPr lang="ru-RU"/>
        </a:p>
      </dgm:t>
    </dgm:pt>
    <dgm:pt modelId="{B4F8E11F-84C2-48A0-ABC4-2BBC1D955696}" type="sibTrans" cxnId="{D9450D04-C26B-40D5-B232-C6642D149063}">
      <dgm:prSet/>
      <dgm:spPr/>
      <dgm:t>
        <a:bodyPr/>
        <a:lstStyle/>
        <a:p>
          <a:endParaRPr lang="ru-RU"/>
        </a:p>
      </dgm:t>
    </dgm:pt>
    <dgm:pt modelId="{BC381F79-B7F6-4982-AAF9-D41A53BC3707}">
      <dgm:prSet phldrT="[Текст]"/>
      <dgm:spPr/>
      <dgm:t>
        <a:bodyPr/>
        <a:lstStyle/>
        <a:p>
          <a:r>
            <a:rPr lang="ru-RU" dirty="0" err="1"/>
            <a:t>Валидация</a:t>
          </a:r>
          <a:r>
            <a:rPr lang="ru-RU" dirty="0"/>
            <a:t> действующих экспертов</a:t>
          </a:r>
        </a:p>
      </dgm:t>
    </dgm:pt>
    <dgm:pt modelId="{DEC356BF-E6DB-485D-BD7B-05AF8F05FAD2}" type="parTrans" cxnId="{845759B9-4030-4DD6-896C-CBE22A745793}">
      <dgm:prSet/>
      <dgm:spPr/>
      <dgm:t>
        <a:bodyPr/>
        <a:lstStyle/>
        <a:p>
          <a:endParaRPr lang="ru-RU"/>
        </a:p>
      </dgm:t>
    </dgm:pt>
    <dgm:pt modelId="{24AD8557-D71D-4238-9B5D-38A0F9E79DD1}" type="sibTrans" cxnId="{845759B9-4030-4DD6-896C-CBE22A745793}">
      <dgm:prSet/>
      <dgm:spPr/>
      <dgm:t>
        <a:bodyPr/>
        <a:lstStyle/>
        <a:p>
          <a:endParaRPr lang="ru-RU"/>
        </a:p>
      </dgm:t>
    </dgm:pt>
    <dgm:pt modelId="{F2E9152B-3F1C-4A6D-BF23-1D552E0A62B7}">
      <dgm:prSet phldrT="[Текст]"/>
      <dgm:spPr/>
      <dgm:t>
        <a:bodyPr/>
        <a:lstStyle/>
        <a:p>
          <a:r>
            <a:rPr lang="ru-RU" dirty="0"/>
            <a:t>Работа с органами власти</a:t>
          </a:r>
        </a:p>
      </dgm:t>
    </dgm:pt>
    <dgm:pt modelId="{06D236C8-87DB-4714-A309-4D1A8CAA00D9}" type="parTrans" cxnId="{FCC41AEB-9F3E-4BE7-B059-E31F3AFD874D}">
      <dgm:prSet/>
      <dgm:spPr/>
      <dgm:t>
        <a:bodyPr/>
        <a:lstStyle/>
        <a:p>
          <a:endParaRPr lang="ru-RU"/>
        </a:p>
      </dgm:t>
    </dgm:pt>
    <dgm:pt modelId="{E49993AE-FF98-4989-BE1C-3F9496E225DD}" type="sibTrans" cxnId="{FCC41AEB-9F3E-4BE7-B059-E31F3AFD874D}">
      <dgm:prSet/>
      <dgm:spPr/>
      <dgm:t>
        <a:bodyPr/>
        <a:lstStyle/>
        <a:p>
          <a:endParaRPr lang="ru-RU"/>
        </a:p>
      </dgm:t>
    </dgm:pt>
    <dgm:pt modelId="{06734442-7AF5-4A5F-9B86-0EE1D77884E9}">
      <dgm:prSet phldrT="[Текст]"/>
      <dgm:spPr/>
      <dgm:t>
        <a:bodyPr/>
        <a:lstStyle/>
        <a:p>
          <a:r>
            <a:rPr lang="ru-RU" dirty="0"/>
            <a:t>Направление письма </a:t>
          </a:r>
        </a:p>
      </dgm:t>
    </dgm:pt>
    <dgm:pt modelId="{3A732170-E471-47D1-BD1B-5D96D4762740}" type="parTrans" cxnId="{8B194819-5651-412A-B87F-70E4D6AE3E61}">
      <dgm:prSet/>
      <dgm:spPr/>
      <dgm:t>
        <a:bodyPr/>
        <a:lstStyle/>
        <a:p>
          <a:endParaRPr lang="ru-RU"/>
        </a:p>
      </dgm:t>
    </dgm:pt>
    <dgm:pt modelId="{F7BD04A6-5DBD-48E0-B02F-0F67C50F571F}" type="sibTrans" cxnId="{8B194819-5651-412A-B87F-70E4D6AE3E61}">
      <dgm:prSet/>
      <dgm:spPr/>
      <dgm:t>
        <a:bodyPr/>
        <a:lstStyle/>
        <a:p>
          <a:endParaRPr lang="ru-RU"/>
        </a:p>
      </dgm:t>
    </dgm:pt>
    <dgm:pt modelId="{70914D15-69EB-4B47-A419-49D3F24167A2}">
      <dgm:prSet phldrT="[Текст]"/>
      <dgm:spPr/>
      <dgm:t>
        <a:bodyPr/>
        <a:lstStyle/>
        <a:p>
          <a:r>
            <a:rPr lang="ru-RU" dirty="0"/>
            <a:t>Запрос на представление результатов </a:t>
          </a:r>
        </a:p>
      </dgm:t>
    </dgm:pt>
    <dgm:pt modelId="{82E31FFA-C33A-4132-9D08-57FCA08340F5}" type="parTrans" cxnId="{353240DE-2389-4866-93E0-23673D86C9AF}">
      <dgm:prSet/>
      <dgm:spPr/>
      <dgm:t>
        <a:bodyPr/>
        <a:lstStyle/>
        <a:p>
          <a:endParaRPr lang="ru-RU"/>
        </a:p>
      </dgm:t>
    </dgm:pt>
    <dgm:pt modelId="{8563A264-D85C-487F-A541-365D0056BAAF}" type="sibTrans" cxnId="{353240DE-2389-4866-93E0-23673D86C9AF}">
      <dgm:prSet/>
      <dgm:spPr/>
      <dgm:t>
        <a:bodyPr/>
        <a:lstStyle/>
        <a:p>
          <a:endParaRPr lang="ru-RU"/>
        </a:p>
      </dgm:t>
    </dgm:pt>
    <dgm:pt modelId="{4BC6ACB0-E9FC-4A48-9F2A-66E25EE7E365}">
      <dgm:prSet phldrT="[Текст]"/>
      <dgm:spPr/>
      <dgm:t>
        <a:bodyPr/>
        <a:lstStyle/>
        <a:p>
          <a:r>
            <a:rPr lang="ru-RU" dirty="0"/>
            <a:t>Заседания </a:t>
          </a:r>
        </a:p>
      </dgm:t>
    </dgm:pt>
    <dgm:pt modelId="{0D2E9A34-CE5D-4575-8CF3-193B0E61F5D6}" type="parTrans" cxnId="{2363CC4D-7EE3-4D36-B1A8-8754217DC517}">
      <dgm:prSet/>
      <dgm:spPr/>
      <dgm:t>
        <a:bodyPr/>
        <a:lstStyle/>
        <a:p>
          <a:endParaRPr lang="ru-RU"/>
        </a:p>
      </dgm:t>
    </dgm:pt>
    <dgm:pt modelId="{9BE8A9EA-CBF8-4177-88C4-B095BB8A8FA2}" type="sibTrans" cxnId="{2363CC4D-7EE3-4D36-B1A8-8754217DC517}">
      <dgm:prSet/>
      <dgm:spPr/>
      <dgm:t>
        <a:bodyPr/>
        <a:lstStyle/>
        <a:p>
          <a:endParaRPr lang="ru-RU"/>
        </a:p>
      </dgm:t>
    </dgm:pt>
    <dgm:pt modelId="{7E5AD00B-4DFC-4CCB-8B2A-7FB2634DB375}">
      <dgm:prSet phldrT="[Текст]"/>
      <dgm:spPr/>
      <dgm:t>
        <a:bodyPr/>
        <a:lstStyle/>
        <a:p>
          <a:r>
            <a:rPr lang="ru-RU" dirty="0"/>
            <a:t>Загрузка результатов</a:t>
          </a:r>
        </a:p>
      </dgm:t>
    </dgm:pt>
    <dgm:pt modelId="{BDC04ABD-7229-4410-BF10-EE9E169A5557}" type="parTrans" cxnId="{1F86D9A2-446A-4407-ADB1-BCE38E1F8EE9}">
      <dgm:prSet/>
      <dgm:spPr/>
      <dgm:t>
        <a:bodyPr/>
        <a:lstStyle/>
        <a:p>
          <a:endParaRPr lang="ru-RU"/>
        </a:p>
      </dgm:t>
    </dgm:pt>
    <dgm:pt modelId="{F0E45EC1-207E-4A20-974F-D5E3D3E2CCD7}" type="sibTrans" cxnId="{1F86D9A2-446A-4407-ADB1-BCE38E1F8EE9}">
      <dgm:prSet/>
      <dgm:spPr/>
      <dgm:t>
        <a:bodyPr/>
        <a:lstStyle/>
        <a:p>
          <a:endParaRPr lang="ru-RU"/>
        </a:p>
      </dgm:t>
    </dgm:pt>
    <dgm:pt modelId="{F86C039F-277C-4DD7-BCE1-F3A0B8A55C3A}">
      <dgm:prSet phldrT="[Текст]"/>
      <dgm:spPr/>
      <dgm:t>
        <a:bodyPr/>
        <a:lstStyle/>
        <a:p>
          <a:r>
            <a:rPr lang="ru-RU" dirty="0"/>
            <a:t>Анализ результатов </a:t>
          </a:r>
        </a:p>
      </dgm:t>
    </dgm:pt>
    <dgm:pt modelId="{1EEF7B82-E564-4C3B-A45B-6CB6D3EEDE13}" type="parTrans" cxnId="{E8D64777-EAA9-4CC9-998A-FD9DBB1AF079}">
      <dgm:prSet/>
      <dgm:spPr/>
      <dgm:t>
        <a:bodyPr/>
        <a:lstStyle/>
        <a:p>
          <a:endParaRPr lang="ru-RU"/>
        </a:p>
      </dgm:t>
    </dgm:pt>
    <dgm:pt modelId="{2D95FE57-927B-4F26-8E70-638DD362962E}" type="sibTrans" cxnId="{E8D64777-EAA9-4CC9-998A-FD9DBB1AF079}">
      <dgm:prSet/>
      <dgm:spPr/>
      <dgm:t>
        <a:bodyPr/>
        <a:lstStyle/>
        <a:p>
          <a:endParaRPr lang="ru-RU"/>
        </a:p>
      </dgm:t>
    </dgm:pt>
    <dgm:pt modelId="{A9D51384-EC22-4045-93F6-6E7C80D8A1CA}">
      <dgm:prSet phldrT="[Текст]"/>
      <dgm:spPr/>
      <dgm:t>
        <a:bodyPr/>
        <a:lstStyle/>
        <a:p>
          <a:r>
            <a:rPr lang="ru-RU" dirty="0"/>
            <a:t>Формирование финального состава  </a:t>
          </a:r>
        </a:p>
      </dgm:t>
    </dgm:pt>
    <dgm:pt modelId="{C9596499-F3AC-40B4-9B07-64ACFFBEAE75}" type="parTrans" cxnId="{980AE9FB-42F6-4B47-B4A6-077A7E7012BC}">
      <dgm:prSet/>
      <dgm:spPr/>
      <dgm:t>
        <a:bodyPr/>
        <a:lstStyle/>
        <a:p>
          <a:endParaRPr lang="ru-RU"/>
        </a:p>
      </dgm:t>
    </dgm:pt>
    <dgm:pt modelId="{ABA3647E-AF8A-4FD6-8C0C-CD666468E7D1}" type="sibTrans" cxnId="{980AE9FB-42F6-4B47-B4A6-077A7E7012BC}">
      <dgm:prSet/>
      <dgm:spPr/>
      <dgm:t>
        <a:bodyPr/>
        <a:lstStyle/>
        <a:p>
          <a:endParaRPr lang="ru-RU"/>
        </a:p>
      </dgm:t>
    </dgm:pt>
    <dgm:pt modelId="{C7F1A136-5266-4503-A4E0-446A16E4DD28}">
      <dgm:prSet phldrT="[Текст]"/>
      <dgm:spPr/>
      <dgm:t>
        <a:bodyPr/>
        <a:lstStyle/>
        <a:p>
          <a:r>
            <a:rPr lang="ru-RU" dirty="0"/>
            <a:t>Сбор заседания</a:t>
          </a:r>
        </a:p>
      </dgm:t>
    </dgm:pt>
    <dgm:pt modelId="{1766DA7F-C432-41D9-8BFF-17698CF6ED94}" type="parTrans" cxnId="{9775D472-DCD0-41EB-A3D3-1C926084E9D0}">
      <dgm:prSet/>
      <dgm:spPr/>
      <dgm:t>
        <a:bodyPr/>
        <a:lstStyle/>
        <a:p>
          <a:endParaRPr lang="ru-RU"/>
        </a:p>
      </dgm:t>
    </dgm:pt>
    <dgm:pt modelId="{E7E1D750-5D25-4CB2-8042-13C065699442}" type="sibTrans" cxnId="{9775D472-DCD0-41EB-A3D3-1C926084E9D0}">
      <dgm:prSet/>
      <dgm:spPr/>
      <dgm:t>
        <a:bodyPr/>
        <a:lstStyle/>
        <a:p>
          <a:endParaRPr lang="ru-RU"/>
        </a:p>
      </dgm:t>
    </dgm:pt>
    <dgm:pt modelId="{94C9F14E-C58F-4237-98D2-233C03D615E7}">
      <dgm:prSet phldrT="[Текст]"/>
      <dgm:spPr/>
      <dgm:t>
        <a:bodyPr/>
        <a:lstStyle/>
        <a:p>
          <a:r>
            <a:rPr lang="ru-RU" dirty="0"/>
            <a:t>3 заседания максимум</a:t>
          </a:r>
        </a:p>
      </dgm:t>
    </dgm:pt>
    <dgm:pt modelId="{9A9B615C-8A95-406E-913E-2B4F03E68A7A}" type="parTrans" cxnId="{83A8F6A9-09A8-403B-8197-EA9CB7F7B86A}">
      <dgm:prSet/>
      <dgm:spPr/>
      <dgm:t>
        <a:bodyPr/>
        <a:lstStyle/>
        <a:p>
          <a:endParaRPr lang="ru-RU"/>
        </a:p>
      </dgm:t>
    </dgm:pt>
    <dgm:pt modelId="{54613F1D-2B34-4A26-8560-C714FF714F46}" type="sibTrans" cxnId="{83A8F6A9-09A8-403B-8197-EA9CB7F7B86A}">
      <dgm:prSet/>
      <dgm:spPr/>
      <dgm:t>
        <a:bodyPr/>
        <a:lstStyle/>
        <a:p>
          <a:endParaRPr lang="ru-RU"/>
        </a:p>
      </dgm:t>
    </dgm:pt>
    <dgm:pt modelId="{5C79D328-4CAA-4737-B1F0-850E120B6952}">
      <dgm:prSet phldrT="[Текст]"/>
      <dgm:spPr/>
      <dgm:t>
        <a:bodyPr/>
        <a:lstStyle/>
        <a:p>
          <a:r>
            <a:rPr lang="ru-RU" dirty="0"/>
            <a:t>Регистрация в </a:t>
          </a:r>
          <a:r>
            <a:rPr lang="en-US" dirty="0"/>
            <a:t>Leader ID (#</a:t>
          </a:r>
          <a:r>
            <a:rPr lang="ru-RU" dirty="0" err="1"/>
            <a:t>инвестстандарт</a:t>
          </a:r>
          <a:r>
            <a:rPr lang="en-US" dirty="0"/>
            <a:t>)</a:t>
          </a:r>
          <a:r>
            <a:rPr lang="ru-RU" dirty="0"/>
            <a:t> </a:t>
          </a:r>
        </a:p>
      </dgm:t>
    </dgm:pt>
    <dgm:pt modelId="{C8C72BF4-E638-4E56-8BB2-1C2959C04B66}" type="parTrans" cxnId="{3271CF29-F69D-48E7-8C0F-06C62D34E469}">
      <dgm:prSet/>
      <dgm:spPr/>
      <dgm:t>
        <a:bodyPr/>
        <a:lstStyle/>
        <a:p>
          <a:endParaRPr lang="ru-RU"/>
        </a:p>
      </dgm:t>
    </dgm:pt>
    <dgm:pt modelId="{42DC6010-F202-4DFB-94FB-D4CC6266B3F1}" type="sibTrans" cxnId="{3271CF29-F69D-48E7-8C0F-06C62D34E469}">
      <dgm:prSet/>
      <dgm:spPr/>
      <dgm:t>
        <a:bodyPr/>
        <a:lstStyle/>
        <a:p>
          <a:endParaRPr lang="ru-RU"/>
        </a:p>
      </dgm:t>
    </dgm:pt>
    <dgm:pt modelId="{C5C17794-5BBD-4851-ABA9-D2A76CC07107}">
      <dgm:prSet phldrT="[Текст]"/>
      <dgm:spPr/>
      <dgm:t>
        <a:bodyPr/>
        <a:lstStyle/>
        <a:p>
          <a:r>
            <a:rPr lang="ru-RU" dirty="0"/>
            <a:t>На сайт как по </a:t>
          </a:r>
          <a:r>
            <a:rPr lang="ru-RU" dirty="0" err="1"/>
            <a:t>Смартеке</a:t>
          </a:r>
          <a:endParaRPr lang="ru-RU" dirty="0"/>
        </a:p>
      </dgm:t>
    </dgm:pt>
    <dgm:pt modelId="{2D1FC073-9CD6-4F63-B97D-8B307A7D0D8D}" type="parTrans" cxnId="{283E79AC-7C1A-4938-877A-3F7F2C973D7A}">
      <dgm:prSet/>
      <dgm:spPr/>
      <dgm:t>
        <a:bodyPr/>
        <a:lstStyle/>
        <a:p>
          <a:endParaRPr lang="ru-RU"/>
        </a:p>
      </dgm:t>
    </dgm:pt>
    <dgm:pt modelId="{4B393FF9-40A4-4A6C-9E20-EB2586DA443D}" type="sibTrans" cxnId="{283E79AC-7C1A-4938-877A-3F7F2C973D7A}">
      <dgm:prSet/>
      <dgm:spPr/>
      <dgm:t>
        <a:bodyPr/>
        <a:lstStyle/>
        <a:p>
          <a:endParaRPr lang="ru-RU"/>
        </a:p>
      </dgm:t>
    </dgm:pt>
    <dgm:pt modelId="{934577D6-3F84-4B28-8C85-F20550DD7442}">
      <dgm:prSet phldrT="[Текст]"/>
      <dgm:spPr/>
      <dgm:t>
        <a:bodyPr/>
        <a:lstStyle/>
        <a:p>
          <a:r>
            <a:rPr lang="ru-RU" dirty="0"/>
            <a:t>Обязательно запись  и список участников</a:t>
          </a:r>
        </a:p>
      </dgm:t>
    </dgm:pt>
    <dgm:pt modelId="{1BB3BCB4-3BC4-48F5-9C35-DF64D2F598FE}" type="parTrans" cxnId="{5E7800D2-51B5-4840-8555-3187717C9DEF}">
      <dgm:prSet/>
      <dgm:spPr/>
      <dgm:t>
        <a:bodyPr/>
        <a:lstStyle/>
        <a:p>
          <a:endParaRPr lang="ru-RU"/>
        </a:p>
      </dgm:t>
    </dgm:pt>
    <dgm:pt modelId="{FA8DAEA4-592B-4B60-ABA2-A2A1E3187FD8}" type="sibTrans" cxnId="{5E7800D2-51B5-4840-8555-3187717C9DEF}">
      <dgm:prSet/>
      <dgm:spPr/>
      <dgm:t>
        <a:bodyPr/>
        <a:lstStyle/>
        <a:p>
          <a:endParaRPr lang="ru-RU"/>
        </a:p>
      </dgm:t>
    </dgm:pt>
    <dgm:pt modelId="{12FE79A4-BF28-4DED-A53B-159EF3F0F9FB}" type="pres">
      <dgm:prSet presAssocID="{98B26B64-8DD6-4EFF-91BB-C393C1FA1D0B}" presName="layout" presStyleCnt="0">
        <dgm:presLayoutVars>
          <dgm:chMax/>
          <dgm:chPref/>
          <dgm:dir/>
          <dgm:resizeHandles/>
        </dgm:presLayoutVars>
      </dgm:prSet>
      <dgm:spPr/>
    </dgm:pt>
    <dgm:pt modelId="{A9FCDF79-75BF-4D3D-AC4A-946CED68AD10}" type="pres">
      <dgm:prSet presAssocID="{9EF66465-69BB-429B-B98C-0D01CF15F9C7}" presName="root" presStyleCnt="0">
        <dgm:presLayoutVars>
          <dgm:chMax/>
          <dgm:chPref/>
        </dgm:presLayoutVars>
      </dgm:prSet>
      <dgm:spPr/>
    </dgm:pt>
    <dgm:pt modelId="{57450BAB-AADC-4174-857F-069D2A7F20AD}" type="pres">
      <dgm:prSet presAssocID="{9EF66465-69BB-429B-B98C-0D01CF15F9C7}" presName="rootComposite" presStyleCnt="0">
        <dgm:presLayoutVars/>
      </dgm:prSet>
      <dgm:spPr/>
    </dgm:pt>
    <dgm:pt modelId="{5ED03AB6-9079-4F53-859C-CACB8E94A118}" type="pres">
      <dgm:prSet presAssocID="{9EF66465-69BB-429B-B98C-0D01CF15F9C7}" presName="ParentAccent" presStyleLbl="alignNode1" presStyleIdx="0" presStyleCnt="5"/>
      <dgm:spPr/>
    </dgm:pt>
    <dgm:pt modelId="{47D7A0B1-104F-4CF9-84C7-DB9CC227FF79}" type="pres">
      <dgm:prSet presAssocID="{9EF66465-69BB-429B-B98C-0D01CF15F9C7}" presName="ParentSmallAccent" presStyleLbl="fgAcc1" presStyleIdx="0" presStyleCnt="5"/>
      <dgm:spPr/>
    </dgm:pt>
    <dgm:pt modelId="{71F805E2-C7E3-4558-864F-D4598C8EC029}" type="pres">
      <dgm:prSet presAssocID="{9EF66465-69BB-429B-B98C-0D01CF15F9C7}" presName="Parent" presStyleLbl="revTx" presStyleIdx="0" presStyleCnt="15">
        <dgm:presLayoutVars>
          <dgm:chMax/>
          <dgm:chPref val="4"/>
          <dgm:bulletEnabled val="1"/>
        </dgm:presLayoutVars>
      </dgm:prSet>
      <dgm:spPr/>
    </dgm:pt>
    <dgm:pt modelId="{660B7883-25CF-4D2F-B4B6-345A20D01816}" type="pres">
      <dgm:prSet presAssocID="{9EF66465-69BB-429B-B98C-0D01CF15F9C7}" presName="childShape" presStyleCnt="0">
        <dgm:presLayoutVars>
          <dgm:chMax val="0"/>
          <dgm:chPref val="0"/>
        </dgm:presLayoutVars>
      </dgm:prSet>
      <dgm:spPr/>
    </dgm:pt>
    <dgm:pt modelId="{1F797190-3F83-443C-AC91-605572669D80}" type="pres">
      <dgm:prSet presAssocID="{181C8DC9-365B-4953-B0B3-AB89FA2A10FC}" presName="childComposite" presStyleCnt="0">
        <dgm:presLayoutVars>
          <dgm:chMax val="0"/>
          <dgm:chPref val="0"/>
        </dgm:presLayoutVars>
      </dgm:prSet>
      <dgm:spPr/>
    </dgm:pt>
    <dgm:pt modelId="{6F293819-053B-4C63-B8C0-77D981AEE425}" type="pres">
      <dgm:prSet presAssocID="{181C8DC9-365B-4953-B0B3-AB89FA2A10FC}" presName="ChildAccent" presStyleLbl="solidFgAcc1" presStyleIdx="0" presStyleCnt="10"/>
      <dgm:spPr/>
    </dgm:pt>
    <dgm:pt modelId="{856BCE81-03CD-4D80-B384-27AF711BC942}" type="pres">
      <dgm:prSet presAssocID="{181C8DC9-365B-4953-B0B3-AB89FA2A10FC}" presName="Child" presStyleLbl="revTx" presStyleIdx="1" presStyleCnt="15">
        <dgm:presLayoutVars>
          <dgm:chMax val="0"/>
          <dgm:chPref val="0"/>
          <dgm:bulletEnabled val="1"/>
        </dgm:presLayoutVars>
      </dgm:prSet>
      <dgm:spPr/>
    </dgm:pt>
    <dgm:pt modelId="{1301D6E7-4DAF-4286-9247-CA9DF4608856}" type="pres">
      <dgm:prSet presAssocID="{BC381F79-B7F6-4982-AAF9-D41A53BC3707}" presName="childComposite" presStyleCnt="0">
        <dgm:presLayoutVars>
          <dgm:chMax val="0"/>
          <dgm:chPref val="0"/>
        </dgm:presLayoutVars>
      </dgm:prSet>
      <dgm:spPr/>
    </dgm:pt>
    <dgm:pt modelId="{5922662A-AA9E-4BB9-BF91-8314A8C490F3}" type="pres">
      <dgm:prSet presAssocID="{BC381F79-B7F6-4982-AAF9-D41A53BC3707}" presName="ChildAccent" presStyleLbl="solidFgAcc1" presStyleIdx="1" presStyleCnt="10"/>
      <dgm:spPr/>
    </dgm:pt>
    <dgm:pt modelId="{AFD97BFD-D4BB-4BB9-B3C9-EC3597CC0F71}" type="pres">
      <dgm:prSet presAssocID="{BC381F79-B7F6-4982-AAF9-D41A53BC3707}" presName="Child" presStyleLbl="revTx" presStyleIdx="2" presStyleCnt="15">
        <dgm:presLayoutVars>
          <dgm:chMax val="0"/>
          <dgm:chPref val="0"/>
          <dgm:bulletEnabled val="1"/>
        </dgm:presLayoutVars>
      </dgm:prSet>
      <dgm:spPr/>
    </dgm:pt>
    <dgm:pt modelId="{80CC2831-7F9A-467F-A45B-4100181E8B36}" type="pres">
      <dgm:prSet presAssocID="{A9D51384-EC22-4045-93F6-6E7C80D8A1CA}" presName="childComposite" presStyleCnt="0">
        <dgm:presLayoutVars>
          <dgm:chMax val="0"/>
          <dgm:chPref val="0"/>
        </dgm:presLayoutVars>
      </dgm:prSet>
      <dgm:spPr/>
    </dgm:pt>
    <dgm:pt modelId="{A2D4D0BD-59ED-4B4E-B73B-C83AD39D70A2}" type="pres">
      <dgm:prSet presAssocID="{A9D51384-EC22-4045-93F6-6E7C80D8A1CA}" presName="ChildAccent" presStyleLbl="solidFgAcc1" presStyleIdx="2" presStyleCnt="10"/>
      <dgm:spPr/>
    </dgm:pt>
    <dgm:pt modelId="{4ACA6CD0-70B9-4C3F-BFB1-F5171DB4B0F3}" type="pres">
      <dgm:prSet presAssocID="{A9D51384-EC22-4045-93F6-6E7C80D8A1CA}" presName="Child" presStyleLbl="revTx" presStyleIdx="3" presStyleCnt="15">
        <dgm:presLayoutVars>
          <dgm:chMax val="0"/>
          <dgm:chPref val="0"/>
          <dgm:bulletEnabled val="1"/>
        </dgm:presLayoutVars>
      </dgm:prSet>
      <dgm:spPr/>
    </dgm:pt>
    <dgm:pt modelId="{A183A410-3686-4E5A-B4E6-FE0926A24890}" type="pres">
      <dgm:prSet presAssocID="{F2E9152B-3F1C-4A6D-BF23-1D552E0A62B7}" presName="root" presStyleCnt="0">
        <dgm:presLayoutVars>
          <dgm:chMax/>
          <dgm:chPref/>
        </dgm:presLayoutVars>
      </dgm:prSet>
      <dgm:spPr/>
    </dgm:pt>
    <dgm:pt modelId="{3663D1AB-E5A3-4D6B-91B9-7F33763C257D}" type="pres">
      <dgm:prSet presAssocID="{F2E9152B-3F1C-4A6D-BF23-1D552E0A62B7}" presName="rootComposite" presStyleCnt="0">
        <dgm:presLayoutVars/>
      </dgm:prSet>
      <dgm:spPr/>
    </dgm:pt>
    <dgm:pt modelId="{D299E58D-81C2-4AF5-B0B1-167A4F0272E0}" type="pres">
      <dgm:prSet presAssocID="{F2E9152B-3F1C-4A6D-BF23-1D552E0A62B7}" presName="ParentAccent" presStyleLbl="alignNode1" presStyleIdx="1" presStyleCnt="5"/>
      <dgm:spPr/>
    </dgm:pt>
    <dgm:pt modelId="{7FE59DD5-25A7-49D8-8283-A427C6A69E2A}" type="pres">
      <dgm:prSet presAssocID="{F2E9152B-3F1C-4A6D-BF23-1D552E0A62B7}" presName="ParentSmallAccent" presStyleLbl="fgAcc1" presStyleIdx="1" presStyleCnt="5"/>
      <dgm:spPr/>
    </dgm:pt>
    <dgm:pt modelId="{33AB5B1A-060A-421F-958D-9C1F4249429A}" type="pres">
      <dgm:prSet presAssocID="{F2E9152B-3F1C-4A6D-BF23-1D552E0A62B7}" presName="Parent" presStyleLbl="revTx" presStyleIdx="4" presStyleCnt="15">
        <dgm:presLayoutVars>
          <dgm:chMax/>
          <dgm:chPref val="4"/>
          <dgm:bulletEnabled val="1"/>
        </dgm:presLayoutVars>
      </dgm:prSet>
      <dgm:spPr/>
    </dgm:pt>
    <dgm:pt modelId="{FDFBF740-6B5A-41A9-9092-DACA3DA7E60C}" type="pres">
      <dgm:prSet presAssocID="{F2E9152B-3F1C-4A6D-BF23-1D552E0A62B7}" presName="childShape" presStyleCnt="0">
        <dgm:presLayoutVars>
          <dgm:chMax val="0"/>
          <dgm:chPref val="0"/>
        </dgm:presLayoutVars>
      </dgm:prSet>
      <dgm:spPr/>
    </dgm:pt>
    <dgm:pt modelId="{500BF3A5-5E96-4C76-9BDB-8B55C8A4F161}" type="pres">
      <dgm:prSet presAssocID="{06734442-7AF5-4A5F-9B86-0EE1D77884E9}" presName="childComposite" presStyleCnt="0">
        <dgm:presLayoutVars>
          <dgm:chMax val="0"/>
          <dgm:chPref val="0"/>
        </dgm:presLayoutVars>
      </dgm:prSet>
      <dgm:spPr/>
    </dgm:pt>
    <dgm:pt modelId="{55369203-B56B-48A8-85AF-76D306E54E43}" type="pres">
      <dgm:prSet presAssocID="{06734442-7AF5-4A5F-9B86-0EE1D77884E9}" presName="ChildAccent" presStyleLbl="solidFgAcc1" presStyleIdx="3" presStyleCnt="10"/>
      <dgm:spPr/>
    </dgm:pt>
    <dgm:pt modelId="{28F55961-B40D-4DA9-B1A6-8C71FAE02EFE}" type="pres">
      <dgm:prSet presAssocID="{06734442-7AF5-4A5F-9B86-0EE1D77884E9}" presName="Child" presStyleLbl="revTx" presStyleIdx="5" presStyleCnt="15">
        <dgm:presLayoutVars>
          <dgm:chMax val="0"/>
          <dgm:chPref val="0"/>
          <dgm:bulletEnabled val="1"/>
        </dgm:presLayoutVars>
      </dgm:prSet>
      <dgm:spPr/>
    </dgm:pt>
    <dgm:pt modelId="{46A9221E-72F3-408B-84EA-A134894273E0}" type="pres">
      <dgm:prSet presAssocID="{70914D15-69EB-4B47-A419-49D3F24167A2}" presName="childComposite" presStyleCnt="0">
        <dgm:presLayoutVars>
          <dgm:chMax val="0"/>
          <dgm:chPref val="0"/>
        </dgm:presLayoutVars>
      </dgm:prSet>
      <dgm:spPr/>
    </dgm:pt>
    <dgm:pt modelId="{0FD0FA5B-0022-47B1-88B5-A336C71A189A}" type="pres">
      <dgm:prSet presAssocID="{70914D15-69EB-4B47-A419-49D3F24167A2}" presName="ChildAccent" presStyleLbl="solidFgAcc1" presStyleIdx="4" presStyleCnt="10"/>
      <dgm:spPr/>
    </dgm:pt>
    <dgm:pt modelId="{B2AF5AC3-9352-4CA3-8A89-14439B7619A8}" type="pres">
      <dgm:prSet presAssocID="{70914D15-69EB-4B47-A419-49D3F24167A2}" presName="Child" presStyleLbl="revTx" presStyleIdx="6" presStyleCnt="15">
        <dgm:presLayoutVars>
          <dgm:chMax val="0"/>
          <dgm:chPref val="0"/>
          <dgm:bulletEnabled val="1"/>
        </dgm:presLayoutVars>
      </dgm:prSet>
      <dgm:spPr/>
    </dgm:pt>
    <dgm:pt modelId="{4A35E0FA-71AF-4120-841C-582C03BD5C01}" type="pres">
      <dgm:prSet presAssocID="{4BC6ACB0-E9FC-4A48-9F2A-66E25EE7E365}" presName="root" presStyleCnt="0">
        <dgm:presLayoutVars>
          <dgm:chMax/>
          <dgm:chPref/>
        </dgm:presLayoutVars>
      </dgm:prSet>
      <dgm:spPr/>
    </dgm:pt>
    <dgm:pt modelId="{13068AFB-052B-4888-A80B-4894A5D4066E}" type="pres">
      <dgm:prSet presAssocID="{4BC6ACB0-E9FC-4A48-9F2A-66E25EE7E365}" presName="rootComposite" presStyleCnt="0">
        <dgm:presLayoutVars/>
      </dgm:prSet>
      <dgm:spPr/>
    </dgm:pt>
    <dgm:pt modelId="{14F32653-9E33-4797-8505-37F27411011D}" type="pres">
      <dgm:prSet presAssocID="{4BC6ACB0-E9FC-4A48-9F2A-66E25EE7E365}" presName="ParentAccent" presStyleLbl="alignNode1" presStyleIdx="2" presStyleCnt="5"/>
      <dgm:spPr/>
    </dgm:pt>
    <dgm:pt modelId="{DEDBA365-77C3-46DA-9C8C-88C856A4F67F}" type="pres">
      <dgm:prSet presAssocID="{4BC6ACB0-E9FC-4A48-9F2A-66E25EE7E365}" presName="ParentSmallAccent" presStyleLbl="fgAcc1" presStyleIdx="2" presStyleCnt="5"/>
      <dgm:spPr/>
    </dgm:pt>
    <dgm:pt modelId="{893802E1-DA65-4A5A-870F-040036C69CA7}" type="pres">
      <dgm:prSet presAssocID="{4BC6ACB0-E9FC-4A48-9F2A-66E25EE7E365}" presName="Parent" presStyleLbl="revTx" presStyleIdx="7" presStyleCnt="15">
        <dgm:presLayoutVars>
          <dgm:chMax/>
          <dgm:chPref val="4"/>
          <dgm:bulletEnabled val="1"/>
        </dgm:presLayoutVars>
      </dgm:prSet>
      <dgm:spPr/>
    </dgm:pt>
    <dgm:pt modelId="{1E2F3A2D-858B-4287-B37F-BB86B808E6FB}" type="pres">
      <dgm:prSet presAssocID="{4BC6ACB0-E9FC-4A48-9F2A-66E25EE7E365}" presName="childShape" presStyleCnt="0">
        <dgm:presLayoutVars>
          <dgm:chMax val="0"/>
          <dgm:chPref val="0"/>
        </dgm:presLayoutVars>
      </dgm:prSet>
      <dgm:spPr/>
    </dgm:pt>
    <dgm:pt modelId="{3968F1F6-2FEC-4CED-AB4D-643FB59198F6}" type="pres">
      <dgm:prSet presAssocID="{C7F1A136-5266-4503-A4E0-446A16E4DD28}" presName="childComposite" presStyleCnt="0">
        <dgm:presLayoutVars>
          <dgm:chMax val="0"/>
          <dgm:chPref val="0"/>
        </dgm:presLayoutVars>
      </dgm:prSet>
      <dgm:spPr/>
    </dgm:pt>
    <dgm:pt modelId="{CC392EF4-4F4F-4EE4-AC66-36A04AE7464E}" type="pres">
      <dgm:prSet presAssocID="{C7F1A136-5266-4503-A4E0-446A16E4DD28}" presName="ChildAccent" presStyleLbl="solidFgAcc1" presStyleIdx="5" presStyleCnt="10"/>
      <dgm:spPr/>
    </dgm:pt>
    <dgm:pt modelId="{B6CDC400-CFD3-410A-9B27-5B1CC112D387}" type="pres">
      <dgm:prSet presAssocID="{C7F1A136-5266-4503-A4E0-446A16E4DD28}" presName="Child" presStyleLbl="revTx" presStyleIdx="8" presStyleCnt="15">
        <dgm:presLayoutVars>
          <dgm:chMax val="0"/>
          <dgm:chPref val="0"/>
          <dgm:bulletEnabled val="1"/>
        </dgm:presLayoutVars>
      </dgm:prSet>
      <dgm:spPr/>
    </dgm:pt>
    <dgm:pt modelId="{45515726-1FCD-4DCC-9A37-159295E8ADBB}" type="pres">
      <dgm:prSet presAssocID="{94C9F14E-C58F-4237-98D2-233C03D615E7}" presName="childComposite" presStyleCnt="0">
        <dgm:presLayoutVars>
          <dgm:chMax val="0"/>
          <dgm:chPref val="0"/>
        </dgm:presLayoutVars>
      </dgm:prSet>
      <dgm:spPr/>
    </dgm:pt>
    <dgm:pt modelId="{0867EC89-9E4F-4F18-AEA5-8660D8B6155E}" type="pres">
      <dgm:prSet presAssocID="{94C9F14E-C58F-4237-98D2-233C03D615E7}" presName="ChildAccent" presStyleLbl="solidFgAcc1" presStyleIdx="6" presStyleCnt="10"/>
      <dgm:spPr/>
    </dgm:pt>
    <dgm:pt modelId="{AFF76A4C-05EF-481E-9673-4B785EAB2F42}" type="pres">
      <dgm:prSet presAssocID="{94C9F14E-C58F-4237-98D2-233C03D615E7}" presName="Child" presStyleLbl="revTx" presStyleIdx="9" presStyleCnt="15">
        <dgm:presLayoutVars>
          <dgm:chMax val="0"/>
          <dgm:chPref val="0"/>
          <dgm:bulletEnabled val="1"/>
        </dgm:presLayoutVars>
      </dgm:prSet>
      <dgm:spPr/>
    </dgm:pt>
    <dgm:pt modelId="{5D05117D-476A-45DE-89EB-2422D01972FB}" type="pres">
      <dgm:prSet presAssocID="{5C79D328-4CAA-4737-B1F0-850E120B6952}" presName="childComposite" presStyleCnt="0">
        <dgm:presLayoutVars>
          <dgm:chMax val="0"/>
          <dgm:chPref val="0"/>
        </dgm:presLayoutVars>
      </dgm:prSet>
      <dgm:spPr/>
    </dgm:pt>
    <dgm:pt modelId="{043E071C-4F7D-466B-B7BA-24C82B1C235D}" type="pres">
      <dgm:prSet presAssocID="{5C79D328-4CAA-4737-B1F0-850E120B6952}" presName="ChildAccent" presStyleLbl="solidFgAcc1" presStyleIdx="7" presStyleCnt="10"/>
      <dgm:spPr/>
    </dgm:pt>
    <dgm:pt modelId="{0459659F-D6A0-49DB-B832-DD68BF7B9E9E}" type="pres">
      <dgm:prSet presAssocID="{5C79D328-4CAA-4737-B1F0-850E120B6952}" presName="Child" presStyleLbl="revTx" presStyleIdx="10" presStyleCnt="15">
        <dgm:presLayoutVars>
          <dgm:chMax val="0"/>
          <dgm:chPref val="0"/>
          <dgm:bulletEnabled val="1"/>
        </dgm:presLayoutVars>
      </dgm:prSet>
      <dgm:spPr/>
    </dgm:pt>
    <dgm:pt modelId="{2365659E-D160-417C-BA02-5ED1E76E9366}" type="pres">
      <dgm:prSet presAssocID="{7E5AD00B-4DFC-4CCB-8B2A-7FB2634DB375}" presName="root" presStyleCnt="0">
        <dgm:presLayoutVars>
          <dgm:chMax/>
          <dgm:chPref/>
        </dgm:presLayoutVars>
      </dgm:prSet>
      <dgm:spPr/>
    </dgm:pt>
    <dgm:pt modelId="{2BA64C55-7415-4753-A164-95F6C3B2A90C}" type="pres">
      <dgm:prSet presAssocID="{7E5AD00B-4DFC-4CCB-8B2A-7FB2634DB375}" presName="rootComposite" presStyleCnt="0">
        <dgm:presLayoutVars/>
      </dgm:prSet>
      <dgm:spPr/>
    </dgm:pt>
    <dgm:pt modelId="{1C9A3C6C-030C-4CE1-AE23-24493F4C68B4}" type="pres">
      <dgm:prSet presAssocID="{7E5AD00B-4DFC-4CCB-8B2A-7FB2634DB375}" presName="ParentAccent" presStyleLbl="alignNode1" presStyleIdx="3" presStyleCnt="5"/>
      <dgm:spPr/>
    </dgm:pt>
    <dgm:pt modelId="{FF244109-4BF7-437D-B2E0-DE97ACD65E74}" type="pres">
      <dgm:prSet presAssocID="{7E5AD00B-4DFC-4CCB-8B2A-7FB2634DB375}" presName="ParentSmallAccent" presStyleLbl="fgAcc1" presStyleIdx="3" presStyleCnt="5"/>
      <dgm:spPr/>
    </dgm:pt>
    <dgm:pt modelId="{51D7149A-DE65-4173-B28E-10EBF6B2A1A1}" type="pres">
      <dgm:prSet presAssocID="{7E5AD00B-4DFC-4CCB-8B2A-7FB2634DB375}" presName="Parent" presStyleLbl="revTx" presStyleIdx="11" presStyleCnt="15">
        <dgm:presLayoutVars>
          <dgm:chMax/>
          <dgm:chPref val="4"/>
          <dgm:bulletEnabled val="1"/>
        </dgm:presLayoutVars>
      </dgm:prSet>
      <dgm:spPr/>
    </dgm:pt>
    <dgm:pt modelId="{B1CFB773-6170-4011-8529-D4B56D5A5B60}" type="pres">
      <dgm:prSet presAssocID="{7E5AD00B-4DFC-4CCB-8B2A-7FB2634DB375}" presName="childShape" presStyleCnt="0">
        <dgm:presLayoutVars>
          <dgm:chMax val="0"/>
          <dgm:chPref val="0"/>
        </dgm:presLayoutVars>
      </dgm:prSet>
      <dgm:spPr/>
    </dgm:pt>
    <dgm:pt modelId="{D906AF31-5992-4D5B-A8CB-2E0291A65F81}" type="pres">
      <dgm:prSet presAssocID="{C5C17794-5BBD-4851-ABA9-D2A76CC07107}" presName="childComposite" presStyleCnt="0">
        <dgm:presLayoutVars>
          <dgm:chMax val="0"/>
          <dgm:chPref val="0"/>
        </dgm:presLayoutVars>
      </dgm:prSet>
      <dgm:spPr/>
    </dgm:pt>
    <dgm:pt modelId="{33EA013F-8010-4314-B1B5-8E7E88B6F74F}" type="pres">
      <dgm:prSet presAssocID="{C5C17794-5BBD-4851-ABA9-D2A76CC07107}" presName="ChildAccent" presStyleLbl="solidFgAcc1" presStyleIdx="8" presStyleCnt="10"/>
      <dgm:spPr/>
    </dgm:pt>
    <dgm:pt modelId="{523962C9-364A-4A58-857D-07A2B6CA4258}" type="pres">
      <dgm:prSet presAssocID="{C5C17794-5BBD-4851-ABA9-D2A76CC07107}" presName="Child" presStyleLbl="revTx" presStyleIdx="12" presStyleCnt="15">
        <dgm:presLayoutVars>
          <dgm:chMax val="0"/>
          <dgm:chPref val="0"/>
          <dgm:bulletEnabled val="1"/>
        </dgm:presLayoutVars>
      </dgm:prSet>
      <dgm:spPr/>
    </dgm:pt>
    <dgm:pt modelId="{5278064B-EE7A-49B2-A29A-164D84AB90BD}" type="pres">
      <dgm:prSet presAssocID="{934577D6-3F84-4B28-8C85-F20550DD7442}" presName="childComposite" presStyleCnt="0">
        <dgm:presLayoutVars>
          <dgm:chMax val="0"/>
          <dgm:chPref val="0"/>
        </dgm:presLayoutVars>
      </dgm:prSet>
      <dgm:spPr/>
    </dgm:pt>
    <dgm:pt modelId="{28748EAF-F3C5-442A-BD00-BEA9B6206D3D}" type="pres">
      <dgm:prSet presAssocID="{934577D6-3F84-4B28-8C85-F20550DD7442}" presName="ChildAccent" presStyleLbl="solidFgAcc1" presStyleIdx="9" presStyleCnt="10"/>
      <dgm:spPr/>
    </dgm:pt>
    <dgm:pt modelId="{D8BE6607-E60F-4407-A9DF-4A9D3C62A5F3}" type="pres">
      <dgm:prSet presAssocID="{934577D6-3F84-4B28-8C85-F20550DD7442}" presName="Child" presStyleLbl="revTx" presStyleIdx="13" presStyleCnt="15">
        <dgm:presLayoutVars>
          <dgm:chMax val="0"/>
          <dgm:chPref val="0"/>
          <dgm:bulletEnabled val="1"/>
        </dgm:presLayoutVars>
      </dgm:prSet>
      <dgm:spPr/>
    </dgm:pt>
    <dgm:pt modelId="{F9FCD5B9-C132-4848-ADFE-08423908C534}" type="pres">
      <dgm:prSet presAssocID="{F86C039F-277C-4DD7-BCE1-F3A0B8A55C3A}" presName="root" presStyleCnt="0">
        <dgm:presLayoutVars>
          <dgm:chMax/>
          <dgm:chPref/>
        </dgm:presLayoutVars>
      </dgm:prSet>
      <dgm:spPr/>
    </dgm:pt>
    <dgm:pt modelId="{35DDA012-55B3-4CF3-9541-86A1253A87A5}" type="pres">
      <dgm:prSet presAssocID="{F86C039F-277C-4DD7-BCE1-F3A0B8A55C3A}" presName="rootComposite" presStyleCnt="0">
        <dgm:presLayoutVars/>
      </dgm:prSet>
      <dgm:spPr/>
    </dgm:pt>
    <dgm:pt modelId="{7DF0074F-5ACD-4F5B-8E80-669E54E286E0}" type="pres">
      <dgm:prSet presAssocID="{F86C039F-277C-4DD7-BCE1-F3A0B8A55C3A}" presName="ParentAccent" presStyleLbl="alignNode1" presStyleIdx="4" presStyleCnt="5"/>
      <dgm:spPr/>
    </dgm:pt>
    <dgm:pt modelId="{DC90FAF2-6D53-4DC6-A3A0-D59F2224F47C}" type="pres">
      <dgm:prSet presAssocID="{F86C039F-277C-4DD7-BCE1-F3A0B8A55C3A}" presName="ParentSmallAccent" presStyleLbl="fgAcc1" presStyleIdx="4" presStyleCnt="5"/>
      <dgm:spPr/>
    </dgm:pt>
    <dgm:pt modelId="{4081E09F-7FD8-4E0B-86CA-34F7CA582B3D}" type="pres">
      <dgm:prSet presAssocID="{F86C039F-277C-4DD7-BCE1-F3A0B8A55C3A}" presName="Parent" presStyleLbl="revTx" presStyleIdx="14" presStyleCnt="15">
        <dgm:presLayoutVars>
          <dgm:chMax/>
          <dgm:chPref val="4"/>
          <dgm:bulletEnabled val="1"/>
        </dgm:presLayoutVars>
      </dgm:prSet>
      <dgm:spPr/>
    </dgm:pt>
    <dgm:pt modelId="{FFD5ADE0-63F5-450A-B764-26C0D7C4F43B}" type="pres">
      <dgm:prSet presAssocID="{F86C039F-277C-4DD7-BCE1-F3A0B8A55C3A}" presName="childShape" presStyleCnt="0">
        <dgm:presLayoutVars>
          <dgm:chMax val="0"/>
          <dgm:chPref val="0"/>
        </dgm:presLayoutVars>
      </dgm:prSet>
      <dgm:spPr/>
    </dgm:pt>
  </dgm:ptLst>
  <dgm:cxnLst>
    <dgm:cxn modelId="{D9450D04-C26B-40D5-B232-C6642D149063}" srcId="{9EF66465-69BB-429B-B98C-0D01CF15F9C7}" destId="{181C8DC9-365B-4953-B0B3-AB89FA2A10FC}" srcOrd="0" destOrd="0" parTransId="{FFC72875-752C-46FE-A8C8-6C7E2CFAF0BF}" sibTransId="{B4F8E11F-84C2-48A0-ABC4-2BBC1D955696}"/>
    <dgm:cxn modelId="{8B194819-5651-412A-B87F-70E4D6AE3E61}" srcId="{F2E9152B-3F1C-4A6D-BF23-1D552E0A62B7}" destId="{06734442-7AF5-4A5F-9B86-0EE1D77884E9}" srcOrd="0" destOrd="0" parTransId="{3A732170-E471-47D1-BD1B-5D96D4762740}" sibTransId="{F7BD04A6-5DBD-48E0-B02F-0F67C50F571F}"/>
    <dgm:cxn modelId="{7D398524-60B6-4920-824D-D45E8BF66D0D}" type="presOf" srcId="{98B26B64-8DD6-4EFF-91BB-C393C1FA1D0B}" destId="{12FE79A4-BF28-4DED-A53B-159EF3F0F9FB}" srcOrd="0" destOrd="0" presId="urn:microsoft.com/office/officeart/2008/layout/SquareAccentList"/>
    <dgm:cxn modelId="{3271CF29-F69D-48E7-8C0F-06C62D34E469}" srcId="{4BC6ACB0-E9FC-4A48-9F2A-66E25EE7E365}" destId="{5C79D328-4CAA-4737-B1F0-850E120B6952}" srcOrd="2" destOrd="0" parTransId="{C8C72BF4-E638-4E56-8BB2-1C2959C04B66}" sibTransId="{42DC6010-F202-4DFB-94FB-D4CC6266B3F1}"/>
    <dgm:cxn modelId="{9245F638-D7FB-4E83-82C9-3D8084611632}" type="presOf" srcId="{181C8DC9-365B-4953-B0B3-AB89FA2A10FC}" destId="{856BCE81-03CD-4D80-B384-27AF711BC942}" srcOrd="0" destOrd="0" presId="urn:microsoft.com/office/officeart/2008/layout/SquareAccentList"/>
    <dgm:cxn modelId="{2363CC4D-7EE3-4D36-B1A8-8754217DC517}" srcId="{98B26B64-8DD6-4EFF-91BB-C393C1FA1D0B}" destId="{4BC6ACB0-E9FC-4A48-9F2A-66E25EE7E365}" srcOrd="2" destOrd="0" parTransId="{0D2E9A34-CE5D-4575-8CF3-193B0E61F5D6}" sibTransId="{9BE8A9EA-CBF8-4177-88C4-B095BB8A8FA2}"/>
    <dgm:cxn modelId="{6BBEF254-5415-49AE-8652-614C8A526881}" type="presOf" srcId="{F86C039F-277C-4DD7-BCE1-F3A0B8A55C3A}" destId="{4081E09F-7FD8-4E0B-86CA-34F7CA582B3D}" srcOrd="0" destOrd="0" presId="urn:microsoft.com/office/officeart/2008/layout/SquareAccentList"/>
    <dgm:cxn modelId="{A7D4BD59-38D9-4CF7-89FF-C674C1FBE704}" type="presOf" srcId="{BC381F79-B7F6-4982-AAF9-D41A53BC3707}" destId="{AFD97BFD-D4BB-4BB9-B3C9-EC3597CC0F71}" srcOrd="0" destOrd="0" presId="urn:microsoft.com/office/officeart/2008/layout/SquareAccentList"/>
    <dgm:cxn modelId="{E006915A-E7EE-4D0F-A7B5-7E480BB2D06C}" type="presOf" srcId="{7E5AD00B-4DFC-4CCB-8B2A-7FB2634DB375}" destId="{51D7149A-DE65-4173-B28E-10EBF6B2A1A1}" srcOrd="0" destOrd="0" presId="urn:microsoft.com/office/officeart/2008/layout/SquareAccentList"/>
    <dgm:cxn modelId="{770C355B-9289-4CDD-9926-CD350A489CDB}" type="presOf" srcId="{70914D15-69EB-4B47-A419-49D3F24167A2}" destId="{B2AF5AC3-9352-4CA3-8A89-14439B7619A8}" srcOrd="0" destOrd="0" presId="urn:microsoft.com/office/officeart/2008/layout/SquareAccentList"/>
    <dgm:cxn modelId="{E9B42963-328E-4776-8ADD-AC41E782231C}" type="presOf" srcId="{06734442-7AF5-4A5F-9B86-0EE1D77884E9}" destId="{28F55961-B40D-4DA9-B1A6-8C71FAE02EFE}" srcOrd="0" destOrd="0" presId="urn:microsoft.com/office/officeart/2008/layout/SquareAccentList"/>
    <dgm:cxn modelId="{5A7B2070-3816-49EE-B2EE-09551A5E5A71}" type="presOf" srcId="{934577D6-3F84-4B28-8C85-F20550DD7442}" destId="{D8BE6607-E60F-4407-A9DF-4A9D3C62A5F3}" srcOrd="0" destOrd="0" presId="urn:microsoft.com/office/officeart/2008/layout/SquareAccentList"/>
    <dgm:cxn modelId="{9775D472-DCD0-41EB-A3D3-1C926084E9D0}" srcId="{4BC6ACB0-E9FC-4A48-9F2A-66E25EE7E365}" destId="{C7F1A136-5266-4503-A4E0-446A16E4DD28}" srcOrd="0" destOrd="0" parTransId="{1766DA7F-C432-41D9-8BFF-17698CF6ED94}" sibTransId="{E7E1D750-5D25-4CB2-8042-13C065699442}"/>
    <dgm:cxn modelId="{DDCFB175-A33A-4B14-B907-DD5DC4529DD9}" type="presOf" srcId="{C7F1A136-5266-4503-A4E0-446A16E4DD28}" destId="{B6CDC400-CFD3-410A-9B27-5B1CC112D387}" srcOrd="0" destOrd="0" presId="urn:microsoft.com/office/officeart/2008/layout/SquareAccentList"/>
    <dgm:cxn modelId="{E8D64777-EAA9-4CC9-998A-FD9DBB1AF079}" srcId="{98B26B64-8DD6-4EFF-91BB-C393C1FA1D0B}" destId="{F86C039F-277C-4DD7-BCE1-F3A0B8A55C3A}" srcOrd="4" destOrd="0" parTransId="{1EEF7B82-E564-4C3B-A45B-6CB6D3EEDE13}" sibTransId="{2D95FE57-927B-4F26-8E70-638DD362962E}"/>
    <dgm:cxn modelId="{8C389A95-8B00-4FF8-80D3-514ED06091B1}" type="presOf" srcId="{C5C17794-5BBD-4851-ABA9-D2A76CC07107}" destId="{523962C9-364A-4A58-857D-07A2B6CA4258}" srcOrd="0" destOrd="0" presId="urn:microsoft.com/office/officeart/2008/layout/SquareAccentList"/>
    <dgm:cxn modelId="{C9807F9C-237B-4A76-B9AC-E087196D417A}" type="presOf" srcId="{F2E9152B-3F1C-4A6D-BF23-1D552E0A62B7}" destId="{33AB5B1A-060A-421F-958D-9C1F4249429A}" srcOrd="0" destOrd="0" presId="urn:microsoft.com/office/officeart/2008/layout/SquareAccentList"/>
    <dgm:cxn modelId="{51C8EB9E-CADA-4347-9B65-68709486ECD0}" type="presOf" srcId="{94C9F14E-C58F-4237-98D2-233C03D615E7}" destId="{AFF76A4C-05EF-481E-9673-4B785EAB2F42}" srcOrd="0" destOrd="0" presId="urn:microsoft.com/office/officeart/2008/layout/SquareAccentList"/>
    <dgm:cxn modelId="{1F86D9A2-446A-4407-ADB1-BCE38E1F8EE9}" srcId="{98B26B64-8DD6-4EFF-91BB-C393C1FA1D0B}" destId="{7E5AD00B-4DFC-4CCB-8B2A-7FB2634DB375}" srcOrd="3" destOrd="0" parTransId="{BDC04ABD-7229-4410-BF10-EE9E169A5557}" sibTransId="{F0E45EC1-207E-4A20-974F-D5E3D3E2CCD7}"/>
    <dgm:cxn modelId="{83A8F6A9-09A8-403B-8197-EA9CB7F7B86A}" srcId="{4BC6ACB0-E9FC-4A48-9F2A-66E25EE7E365}" destId="{94C9F14E-C58F-4237-98D2-233C03D615E7}" srcOrd="1" destOrd="0" parTransId="{9A9B615C-8A95-406E-913E-2B4F03E68A7A}" sibTransId="{54613F1D-2B34-4A26-8560-C714FF714F46}"/>
    <dgm:cxn modelId="{283E79AC-7C1A-4938-877A-3F7F2C973D7A}" srcId="{7E5AD00B-4DFC-4CCB-8B2A-7FB2634DB375}" destId="{C5C17794-5BBD-4851-ABA9-D2A76CC07107}" srcOrd="0" destOrd="0" parTransId="{2D1FC073-9CD6-4F63-B97D-8B307A7D0D8D}" sibTransId="{4B393FF9-40A4-4A6C-9E20-EB2586DA443D}"/>
    <dgm:cxn modelId="{756E6BB1-9B17-4481-886E-487F35503B7D}" type="presOf" srcId="{9EF66465-69BB-429B-B98C-0D01CF15F9C7}" destId="{71F805E2-C7E3-4558-864F-D4598C8EC029}" srcOrd="0" destOrd="0" presId="urn:microsoft.com/office/officeart/2008/layout/SquareAccentList"/>
    <dgm:cxn modelId="{2D04E5B4-9A3D-4B6C-860F-61EC444A6F4D}" srcId="{98B26B64-8DD6-4EFF-91BB-C393C1FA1D0B}" destId="{9EF66465-69BB-429B-B98C-0D01CF15F9C7}" srcOrd="0" destOrd="0" parTransId="{B0FD469A-011F-423B-80C7-6EC253ADD4B7}" sibTransId="{05A39026-6A5B-4C12-9392-9CECE187AD88}"/>
    <dgm:cxn modelId="{845759B9-4030-4DD6-896C-CBE22A745793}" srcId="{9EF66465-69BB-429B-B98C-0D01CF15F9C7}" destId="{BC381F79-B7F6-4982-AAF9-D41A53BC3707}" srcOrd="1" destOrd="0" parTransId="{DEC356BF-E6DB-485D-BD7B-05AF8F05FAD2}" sibTransId="{24AD8557-D71D-4238-9B5D-38A0F9E79DD1}"/>
    <dgm:cxn modelId="{5E7800D2-51B5-4840-8555-3187717C9DEF}" srcId="{7E5AD00B-4DFC-4CCB-8B2A-7FB2634DB375}" destId="{934577D6-3F84-4B28-8C85-F20550DD7442}" srcOrd="1" destOrd="0" parTransId="{1BB3BCB4-3BC4-48F5-9C35-DF64D2F598FE}" sibTransId="{FA8DAEA4-592B-4B60-ABA2-A2A1E3187FD8}"/>
    <dgm:cxn modelId="{9A8CBED3-5B86-4197-8014-197855AA341C}" type="presOf" srcId="{4BC6ACB0-E9FC-4A48-9F2A-66E25EE7E365}" destId="{893802E1-DA65-4A5A-870F-040036C69CA7}" srcOrd="0" destOrd="0" presId="urn:microsoft.com/office/officeart/2008/layout/SquareAccentList"/>
    <dgm:cxn modelId="{29FE06D9-9986-4F18-90CE-CB0454C0E90D}" type="presOf" srcId="{5C79D328-4CAA-4737-B1F0-850E120B6952}" destId="{0459659F-D6A0-49DB-B832-DD68BF7B9E9E}" srcOrd="0" destOrd="0" presId="urn:microsoft.com/office/officeart/2008/layout/SquareAccentList"/>
    <dgm:cxn modelId="{353240DE-2389-4866-93E0-23673D86C9AF}" srcId="{F2E9152B-3F1C-4A6D-BF23-1D552E0A62B7}" destId="{70914D15-69EB-4B47-A419-49D3F24167A2}" srcOrd="1" destOrd="0" parTransId="{82E31FFA-C33A-4132-9D08-57FCA08340F5}" sibTransId="{8563A264-D85C-487F-A541-365D0056BAAF}"/>
    <dgm:cxn modelId="{671EEFEA-67F6-43B9-AD05-81ED14DFB82C}" type="presOf" srcId="{A9D51384-EC22-4045-93F6-6E7C80D8A1CA}" destId="{4ACA6CD0-70B9-4C3F-BFB1-F5171DB4B0F3}" srcOrd="0" destOrd="0" presId="urn:microsoft.com/office/officeart/2008/layout/SquareAccentList"/>
    <dgm:cxn modelId="{FCC41AEB-9F3E-4BE7-B059-E31F3AFD874D}" srcId="{98B26B64-8DD6-4EFF-91BB-C393C1FA1D0B}" destId="{F2E9152B-3F1C-4A6D-BF23-1D552E0A62B7}" srcOrd="1" destOrd="0" parTransId="{06D236C8-87DB-4714-A309-4D1A8CAA00D9}" sibTransId="{E49993AE-FF98-4989-BE1C-3F9496E225DD}"/>
    <dgm:cxn modelId="{980AE9FB-42F6-4B47-B4A6-077A7E7012BC}" srcId="{9EF66465-69BB-429B-B98C-0D01CF15F9C7}" destId="{A9D51384-EC22-4045-93F6-6E7C80D8A1CA}" srcOrd="2" destOrd="0" parTransId="{C9596499-F3AC-40B4-9B07-64ACFFBEAE75}" sibTransId="{ABA3647E-AF8A-4FD6-8C0C-CD666468E7D1}"/>
    <dgm:cxn modelId="{6F1CDD6E-BD18-4F60-9E19-DBEF1E7AC8D9}" type="presParOf" srcId="{12FE79A4-BF28-4DED-A53B-159EF3F0F9FB}" destId="{A9FCDF79-75BF-4D3D-AC4A-946CED68AD10}" srcOrd="0" destOrd="0" presId="urn:microsoft.com/office/officeart/2008/layout/SquareAccentList"/>
    <dgm:cxn modelId="{C98B6A46-7F80-4118-BF94-14EBE9BB7653}" type="presParOf" srcId="{A9FCDF79-75BF-4D3D-AC4A-946CED68AD10}" destId="{57450BAB-AADC-4174-857F-069D2A7F20AD}" srcOrd="0" destOrd="0" presId="urn:microsoft.com/office/officeart/2008/layout/SquareAccentList"/>
    <dgm:cxn modelId="{F5032345-C724-4F54-A598-3B6A8AA7A1E7}" type="presParOf" srcId="{57450BAB-AADC-4174-857F-069D2A7F20AD}" destId="{5ED03AB6-9079-4F53-859C-CACB8E94A118}" srcOrd="0" destOrd="0" presId="urn:microsoft.com/office/officeart/2008/layout/SquareAccentList"/>
    <dgm:cxn modelId="{643AB7EB-DBDF-4DAE-AAEA-4C085892A5E2}" type="presParOf" srcId="{57450BAB-AADC-4174-857F-069D2A7F20AD}" destId="{47D7A0B1-104F-4CF9-84C7-DB9CC227FF79}" srcOrd="1" destOrd="0" presId="urn:microsoft.com/office/officeart/2008/layout/SquareAccentList"/>
    <dgm:cxn modelId="{B4A0FAA8-CD45-474F-876A-03A882794205}" type="presParOf" srcId="{57450BAB-AADC-4174-857F-069D2A7F20AD}" destId="{71F805E2-C7E3-4558-864F-D4598C8EC029}" srcOrd="2" destOrd="0" presId="urn:microsoft.com/office/officeart/2008/layout/SquareAccentList"/>
    <dgm:cxn modelId="{0B0AED16-2180-4092-B7AA-98C92FA6D783}" type="presParOf" srcId="{A9FCDF79-75BF-4D3D-AC4A-946CED68AD10}" destId="{660B7883-25CF-4D2F-B4B6-345A20D01816}" srcOrd="1" destOrd="0" presId="urn:microsoft.com/office/officeart/2008/layout/SquareAccentList"/>
    <dgm:cxn modelId="{40686EE1-73CC-465D-BC0B-3A973CC887C2}" type="presParOf" srcId="{660B7883-25CF-4D2F-B4B6-345A20D01816}" destId="{1F797190-3F83-443C-AC91-605572669D80}" srcOrd="0" destOrd="0" presId="urn:microsoft.com/office/officeart/2008/layout/SquareAccentList"/>
    <dgm:cxn modelId="{9CFBDE9F-E78A-4E58-9BE6-2CD9BBDA1113}" type="presParOf" srcId="{1F797190-3F83-443C-AC91-605572669D80}" destId="{6F293819-053B-4C63-B8C0-77D981AEE425}" srcOrd="0" destOrd="0" presId="urn:microsoft.com/office/officeart/2008/layout/SquareAccentList"/>
    <dgm:cxn modelId="{25C664AE-C5DC-4C70-822E-50D98BCD79F8}" type="presParOf" srcId="{1F797190-3F83-443C-AC91-605572669D80}" destId="{856BCE81-03CD-4D80-B384-27AF711BC942}" srcOrd="1" destOrd="0" presId="urn:microsoft.com/office/officeart/2008/layout/SquareAccentList"/>
    <dgm:cxn modelId="{D3670D3B-1D59-47B3-B03C-2E28DC0D8ED0}" type="presParOf" srcId="{660B7883-25CF-4D2F-B4B6-345A20D01816}" destId="{1301D6E7-4DAF-4286-9247-CA9DF4608856}" srcOrd="1" destOrd="0" presId="urn:microsoft.com/office/officeart/2008/layout/SquareAccentList"/>
    <dgm:cxn modelId="{971B9D3A-E066-4B22-AA53-9771C48C25DC}" type="presParOf" srcId="{1301D6E7-4DAF-4286-9247-CA9DF4608856}" destId="{5922662A-AA9E-4BB9-BF91-8314A8C490F3}" srcOrd="0" destOrd="0" presId="urn:microsoft.com/office/officeart/2008/layout/SquareAccentList"/>
    <dgm:cxn modelId="{515B29CA-EAE9-4F89-BDD7-CEB7E0D337B5}" type="presParOf" srcId="{1301D6E7-4DAF-4286-9247-CA9DF4608856}" destId="{AFD97BFD-D4BB-4BB9-B3C9-EC3597CC0F71}" srcOrd="1" destOrd="0" presId="urn:microsoft.com/office/officeart/2008/layout/SquareAccentList"/>
    <dgm:cxn modelId="{4A513ED4-8E2D-42BB-A010-F9D9EDDFDD3C}" type="presParOf" srcId="{660B7883-25CF-4D2F-B4B6-345A20D01816}" destId="{80CC2831-7F9A-467F-A45B-4100181E8B36}" srcOrd="2" destOrd="0" presId="urn:microsoft.com/office/officeart/2008/layout/SquareAccentList"/>
    <dgm:cxn modelId="{DB8BAC6F-9E21-486D-9E2B-08C83648228F}" type="presParOf" srcId="{80CC2831-7F9A-467F-A45B-4100181E8B36}" destId="{A2D4D0BD-59ED-4B4E-B73B-C83AD39D70A2}" srcOrd="0" destOrd="0" presId="urn:microsoft.com/office/officeart/2008/layout/SquareAccentList"/>
    <dgm:cxn modelId="{C031B952-D886-406D-80D2-DEDF79FF5770}" type="presParOf" srcId="{80CC2831-7F9A-467F-A45B-4100181E8B36}" destId="{4ACA6CD0-70B9-4C3F-BFB1-F5171DB4B0F3}" srcOrd="1" destOrd="0" presId="urn:microsoft.com/office/officeart/2008/layout/SquareAccentList"/>
    <dgm:cxn modelId="{83629C05-44BD-4871-8437-82FBF198A479}" type="presParOf" srcId="{12FE79A4-BF28-4DED-A53B-159EF3F0F9FB}" destId="{A183A410-3686-4E5A-B4E6-FE0926A24890}" srcOrd="1" destOrd="0" presId="urn:microsoft.com/office/officeart/2008/layout/SquareAccentList"/>
    <dgm:cxn modelId="{6E8E0B55-7FDE-4945-AEF1-0AA3F7AAC19E}" type="presParOf" srcId="{A183A410-3686-4E5A-B4E6-FE0926A24890}" destId="{3663D1AB-E5A3-4D6B-91B9-7F33763C257D}" srcOrd="0" destOrd="0" presId="urn:microsoft.com/office/officeart/2008/layout/SquareAccentList"/>
    <dgm:cxn modelId="{AFBF29FD-2490-442C-8A9F-0982812FABB0}" type="presParOf" srcId="{3663D1AB-E5A3-4D6B-91B9-7F33763C257D}" destId="{D299E58D-81C2-4AF5-B0B1-167A4F0272E0}" srcOrd="0" destOrd="0" presId="urn:microsoft.com/office/officeart/2008/layout/SquareAccentList"/>
    <dgm:cxn modelId="{B62C5787-A71D-45F7-91E0-73C7F4CC7720}" type="presParOf" srcId="{3663D1AB-E5A3-4D6B-91B9-7F33763C257D}" destId="{7FE59DD5-25A7-49D8-8283-A427C6A69E2A}" srcOrd="1" destOrd="0" presId="urn:microsoft.com/office/officeart/2008/layout/SquareAccentList"/>
    <dgm:cxn modelId="{A109E404-93C5-439E-9308-E1774C063936}" type="presParOf" srcId="{3663D1AB-E5A3-4D6B-91B9-7F33763C257D}" destId="{33AB5B1A-060A-421F-958D-9C1F4249429A}" srcOrd="2" destOrd="0" presId="urn:microsoft.com/office/officeart/2008/layout/SquareAccentList"/>
    <dgm:cxn modelId="{15410B46-EFF0-4BFC-8C7C-9F75468B5A8D}" type="presParOf" srcId="{A183A410-3686-4E5A-B4E6-FE0926A24890}" destId="{FDFBF740-6B5A-41A9-9092-DACA3DA7E60C}" srcOrd="1" destOrd="0" presId="urn:microsoft.com/office/officeart/2008/layout/SquareAccentList"/>
    <dgm:cxn modelId="{CFC16CC1-C8E7-46E2-BF31-77A6C79A725A}" type="presParOf" srcId="{FDFBF740-6B5A-41A9-9092-DACA3DA7E60C}" destId="{500BF3A5-5E96-4C76-9BDB-8B55C8A4F161}" srcOrd="0" destOrd="0" presId="urn:microsoft.com/office/officeart/2008/layout/SquareAccentList"/>
    <dgm:cxn modelId="{D8E41514-5CD4-409D-A7DA-717DA289A7D2}" type="presParOf" srcId="{500BF3A5-5E96-4C76-9BDB-8B55C8A4F161}" destId="{55369203-B56B-48A8-85AF-76D306E54E43}" srcOrd="0" destOrd="0" presId="urn:microsoft.com/office/officeart/2008/layout/SquareAccentList"/>
    <dgm:cxn modelId="{5E46BAB7-E1EE-4742-9EA3-608219780986}" type="presParOf" srcId="{500BF3A5-5E96-4C76-9BDB-8B55C8A4F161}" destId="{28F55961-B40D-4DA9-B1A6-8C71FAE02EFE}" srcOrd="1" destOrd="0" presId="urn:microsoft.com/office/officeart/2008/layout/SquareAccentList"/>
    <dgm:cxn modelId="{9D319233-1E32-4C3A-A198-587E1110E04E}" type="presParOf" srcId="{FDFBF740-6B5A-41A9-9092-DACA3DA7E60C}" destId="{46A9221E-72F3-408B-84EA-A134894273E0}" srcOrd="1" destOrd="0" presId="urn:microsoft.com/office/officeart/2008/layout/SquareAccentList"/>
    <dgm:cxn modelId="{EDAF1622-04CD-4480-8E53-43F7F73349A7}" type="presParOf" srcId="{46A9221E-72F3-408B-84EA-A134894273E0}" destId="{0FD0FA5B-0022-47B1-88B5-A336C71A189A}" srcOrd="0" destOrd="0" presId="urn:microsoft.com/office/officeart/2008/layout/SquareAccentList"/>
    <dgm:cxn modelId="{D4E59824-1D25-49DF-ADF5-60CE74ED416B}" type="presParOf" srcId="{46A9221E-72F3-408B-84EA-A134894273E0}" destId="{B2AF5AC3-9352-4CA3-8A89-14439B7619A8}" srcOrd="1" destOrd="0" presId="urn:microsoft.com/office/officeart/2008/layout/SquareAccentList"/>
    <dgm:cxn modelId="{2494FF2C-E84D-49AB-9CA0-687EF0D7219E}" type="presParOf" srcId="{12FE79A4-BF28-4DED-A53B-159EF3F0F9FB}" destId="{4A35E0FA-71AF-4120-841C-582C03BD5C01}" srcOrd="2" destOrd="0" presId="urn:microsoft.com/office/officeart/2008/layout/SquareAccentList"/>
    <dgm:cxn modelId="{5D4E8287-5F37-438D-9546-29CC402BA9E9}" type="presParOf" srcId="{4A35E0FA-71AF-4120-841C-582C03BD5C01}" destId="{13068AFB-052B-4888-A80B-4894A5D4066E}" srcOrd="0" destOrd="0" presId="urn:microsoft.com/office/officeart/2008/layout/SquareAccentList"/>
    <dgm:cxn modelId="{6F0460B4-DD69-4B54-9BBC-8A8DDA9364E7}" type="presParOf" srcId="{13068AFB-052B-4888-A80B-4894A5D4066E}" destId="{14F32653-9E33-4797-8505-37F27411011D}" srcOrd="0" destOrd="0" presId="urn:microsoft.com/office/officeart/2008/layout/SquareAccentList"/>
    <dgm:cxn modelId="{0AFD139D-EE97-42B2-963C-C699A2D497F6}" type="presParOf" srcId="{13068AFB-052B-4888-A80B-4894A5D4066E}" destId="{DEDBA365-77C3-46DA-9C8C-88C856A4F67F}" srcOrd="1" destOrd="0" presId="urn:microsoft.com/office/officeart/2008/layout/SquareAccentList"/>
    <dgm:cxn modelId="{3310CDA2-0794-43E0-9A0B-695541A32DB2}" type="presParOf" srcId="{13068AFB-052B-4888-A80B-4894A5D4066E}" destId="{893802E1-DA65-4A5A-870F-040036C69CA7}" srcOrd="2" destOrd="0" presId="urn:microsoft.com/office/officeart/2008/layout/SquareAccentList"/>
    <dgm:cxn modelId="{F0E8101C-6143-4395-B517-A6E9A0776254}" type="presParOf" srcId="{4A35E0FA-71AF-4120-841C-582C03BD5C01}" destId="{1E2F3A2D-858B-4287-B37F-BB86B808E6FB}" srcOrd="1" destOrd="0" presId="urn:microsoft.com/office/officeart/2008/layout/SquareAccentList"/>
    <dgm:cxn modelId="{4D584252-217C-4E3C-82BE-B803D15535FF}" type="presParOf" srcId="{1E2F3A2D-858B-4287-B37F-BB86B808E6FB}" destId="{3968F1F6-2FEC-4CED-AB4D-643FB59198F6}" srcOrd="0" destOrd="0" presId="urn:microsoft.com/office/officeart/2008/layout/SquareAccentList"/>
    <dgm:cxn modelId="{D8F9AE3A-F8A5-490B-83A0-994E61E9BCAB}" type="presParOf" srcId="{3968F1F6-2FEC-4CED-AB4D-643FB59198F6}" destId="{CC392EF4-4F4F-4EE4-AC66-36A04AE7464E}" srcOrd="0" destOrd="0" presId="urn:microsoft.com/office/officeart/2008/layout/SquareAccentList"/>
    <dgm:cxn modelId="{7C758B1A-D4D2-46BF-9C84-D45AE73F8C1E}" type="presParOf" srcId="{3968F1F6-2FEC-4CED-AB4D-643FB59198F6}" destId="{B6CDC400-CFD3-410A-9B27-5B1CC112D387}" srcOrd="1" destOrd="0" presId="urn:microsoft.com/office/officeart/2008/layout/SquareAccentList"/>
    <dgm:cxn modelId="{9CD0F869-CD04-4F59-A2F8-4D67FCAD80AD}" type="presParOf" srcId="{1E2F3A2D-858B-4287-B37F-BB86B808E6FB}" destId="{45515726-1FCD-4DCC-9A37-159295E8ADBB}" srcOrd="1" destOrd="0" presId="urn:microsoft.com/office/officeart/2008/layout/SquareAccentList"/>
    <dgm:cxn modelId="{FD0CEFAF-7B60-4025-8645-53C0107916B8}" type="presParOf" srcId="{45515726-1FCD-4DCC-9A37-159295E8ADBB}" destId="{0867EC89-9E4F-4F18-AEA5-8660D8B6155E}" srcOrd="0" destOrd="0" presId="urn:microsoft.com/office/officeart/2008/layout/SquareAccentList"/>
    <dgm:cxn modelId="{00F6DABA-7B31-4C96-8574-4219752DE235}" type="presParOf" srcId="{45515726-1FCD-4DCC-9A37-159295E8ADBB}" destId="{AFF76A4C-05EF-481E-9673-4B785EAB2F42}" srcOrd="1" destOrd="0" presId="urn:microsoft.com/office/officeart/2008/layout/SquareAccentList"/>
    <dgm:cxn modelId="{45C52534-0C24-41E3-92DD-4F6F7E180D44}" type="presParOf" srcId="{1E2F3A2D-858B-4287-B37F-BB86B808E6FB}" destId="{5D05117D-476A-45DE-89EB-2422D01972FB}" srcOrd="2" destOrd="0" presId="urn:microsoft.com/office/officeart/2008/layout/SquareAccentList"/>
    <dgm:cxn modelId="{24F0218C-3002-47F8-8FEC-E415C1FEAC16}" type="presParOf" srcId="{5D05117D-476A-45DE-89EB-2422D01972FB}" destId="{043E071C-4F7D-466B-B7BA-24C82B1C235D}" srcOrd="0" destOrd="0" presId="urn:microsoft.com/office/officeart/2008/layout/SquareAccentList"/>
    <dgm:cxn modelId="{C80B47CD-797C-4227-926B-8E50895E2113}" type="presParOf" srcId="{5D05117D-476A-45DE-89EB-2422D01972FB}" destId="{0459659F-D6A0-49DB-B832-DD68BF7B9E9E}" srcOrd="1" destOrd="0" presId="urn:microsoft.com/office/officeart/2008/layout/SquareAccentList"/>
    <dgm:cxn modelId="{3CBCCFAA-5212-4F18-8C90-9CEB8A3420B2}" type="presParOf" srcId="{12FE79A4-BF28-4DED-A53B-159EF3F0F9FB}" destId="{2365659E-D160-417C-BA02-5ED1E76E9366}" srcOrd="3" destOrd="0" presId="urn:microsoft.com/office/officeart/2008/layout/SquareAccentList"/>
    <dgm:cxn modelId="{E96C0B77-AEAD-48BA-9828-3C74AF03F845}" type="presParOf" srcId="{2365659E-D160-417C-BA02-5ED1E76E9366}" destId="{2BA64C55-7415-4753-A164-95F6C3B2A90C}" srcOrd="0" destOrd="0" presId="urn:microsoft.com/office/officeart/2008/layout/SquareAccentList"/>
    <dgm:cxn modelId="{891B48DE-FFD3-4103-82FF-36EA538ECB30}" type="presParOf" srcId="{2BA64C55-7415-4753-A164-95F6C3B2A90C}" destId="{1C9A3C6C-030C-4CE1-AE23-24493F4C68B4}" srcOrd="0" destOrd="0" presId="urn:microsoft.com/office/officeart/2008/layout/SquareAccentList"/>
    <dgm:cxn modelId="{DF213674-9A6F-4773-9AA7-380CA18CFB34}" type="presParOf" srcId="{2BA64C55-7415-4753-A164-95F6C3B2A90C}" destId="{FF244109-4BF7-437D-B2E0-DE97ACD65E74}" srcOrd="1" destOrd="0" presId="urn:microsoft.com/office/officeart/2008/layout/SquareAccentList"/>
    <dgm:cxn modelId="{56A76209-56E5-4A53-98B3-F54C070CD73A}" type="presParOf" srcId="{2BA64C55-7415-4753-A164-95F6C3B2A90C}" destId="{51D7149A-DE65-4173-B28E-10EBF6B2A1A1}" srcOrd="2" destOrd="0" presId="urn:microsoft.com/office/officeart/2008/layout/SquareAccentList"/>
    <dgm:cxn modelId="{A7B2A4B3-2D40-4834-9B55-F37277F5447D}" type="presParOf" srcId="{2365659E-D160-417C-BA02-5ED1E76E9366}" destId="{B1CFB773-6170-4011-8529-D4B56D5A5B60}" srcOrd="1" destOrd="0" presId="urn:microsoft.com/office/officeart/2008/layout/SquareAccentList"/>
    <dgm:cxn modelId="{E0F2051D-4988-4737-8D32-488469A2CF39}" type="presParOf" srcId="{B1CFB773-6170-4011-8529-D4B56D5A5B60}" destId="{D906AF31-5992-4D5B-A8CB-2E0291A65F81}" srcOrd="0" destOrd="0" presId="urn:microsoft.com/office/officeart/2008/layout/SquareAccentList"/>
    <dgm:cxn modelId="{3B12710F-B081-4F39-B6F4-BAE29585A36B}" type="presParOf" srcId="{D906AF31-5992-4D5B-A8CB-2E0291A65F81}" destId="{33EA013F-8010-4314-B1B5-8E7E88B6F74F}" srcOrd="0" destOrd="0" presId="urn:microsoft.com/office/officeart/2008/layout/SquareAccentList"/>
    <dgm:cxn modelId="{187C042F-49D1-4219-809D-360F3C9C4CE2}" type="presParOf" srcId="{D906AF31-5992-4D5B-A8CB-2E0291A65F81}" destId="{523962C9-364A-4A58-857D-07A2B6CA4258}" srcOrd="1" destOrd="0" presId="urn:microsoft.com/office/officeart/2008/layout/SquareAccentList"/>
    <dgm:cxn modelId="{551EFAA5-8F52-4E1C-918D-6BB5ADCDED80}" type="presParOf" srcId="{B1CFB773-6170-4011-8529-D4B56D5A5B60}" destId="{5278064B-EE7A-49B2-A29A-164D84AB90BD}" srcOrd="1" destOrd="0" presId="urn:microsoft.com/office/officeart/2008/layout/SquareAccentList"/>
    <dgm:cxn modelId="{6DBD891E-D2CE-4A05-B241-64209E3C1A36}" type="presParOf" srcId="{5278064B-EE7A-49B2-A29A-164D84AB90BD}" destId="{28748EAF-F3C5-442A-BD00-BEA9B6206D3D}" srcOrd="0" destOrd="0" presId="urn:microsoft.com/office/officeart/2008/layout/SquareAccentList"/>
    <dgm:cxn modelId="{25FBC6B7-3F47-42DD-A253-3E3321A53B23}" type="presParOf" srcId="{5278064B-EE7A-49B2-A29A-164D84AB90BD}" destId="{D8BE6607-E60F-4407-A9DF-4A9D3C62A5F3}" srcOrd="1" destOrd="0" presId="urn:microsoft.com/office/officeart/2008/layout/SquareAccentList"/>
    <dgm:cxn modelId="{C27EBB7A-FA9E-4045-A457-1B24C4FA9964}" type="presParOf" srcId="{12FE79A4-BF28-4DED-A53B-159EF3F0F9FB}" destId="{F9FCD5B9-C132-4848-ADFE-08423908C534}" srcOrd="4" destOrd="0" presId="urn:microsoft.com/office/officeart/2008/layout/SquareAccentList"/>
    <dgm:cxn modelId="{83C50AB3-8F3A-400D-8217-A0F19F108D4D}" type="presParOf" srcId="{F9FCD5B9-C132-4848-ADFE-08423908C534}" destId="{35DDA012-55B3-4CF3-9541-86A1253A87A5}" srcOrd="0" destOrd="0" presId="urn:microsoft.com/office/officeart/2008/layout/SquareAccentList"/>
    <dgm:cxn modelId="{91439592-415E-4FF4-9FBB-233B244949D9}" type="presParOf" srcId="{35DDA012-55B3-4CF3-9541-86A1253A87A5}" destId="{7DF0074F-5ACD-4F5B-8E80-669E54E286E0}" srcOrd="0" destOrd="0" presId="urn:microsoft.com/office/officeart/2008/layout/SquareAccentList"/>
    <dgm:cxn modelId="{CBD29925-C50D-4E9D-88F0-850EF7A00B2F}" type="presParOf" srcId="{35DDA012-55B3-4CF3-9541-86A1253A87A5}" destId="{DC90FAF2-6D53-4DC6-A3A0-D59F2224F47C}" srcOrd="1" destOrd="0" presId="urn:microsoft.com/office/officeart/2008/layout/SquareAccentList"/>
    <dgm:cxn modelId="{CB529E19-EB23-4A98-9DE9-41B22FEC74F8}" type="presParOf" srcId="{35DDA012-55B3-4CF3-9541-86A1253A87A5}" destId="{4081E09F-7FD8-4E0B-86CA-34F7CA582B3D}" srcOrd="2" destOrd="0" presId="urn:microsoft.com/office/officeart/2008/layout/SquareAccentList"/>
    <dgm:cxn modelId="{5A47F195-AF1C-4707-8C2C-7A021B0038D8}" type="presParOf" srcId="{F9FCD5B9-C132-4848-ADFE-08423908C534}" destId="{FFD5ADE0-63F5-450A-B764-26C0D7C4F43B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D03AB6-9079-4F53-859C-CACB8E94A118}">
      <dsp:nvSpPr>
        <dsp:cNvPr id="0" name=""/>
        <dsp:cNvSpPr/>
      </dsp:nvSpPr>
      <dsp:spPr>
        <a:xfrm>
          <a:off x="4202" y="330004"/>
          <a:ext cx="1561460" cy="18370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7D7A0B1-104F-4CF9-84C7-DB9CC227FF79}">
      <dsp:nvSpPr>
        <dsp:cNvPr id="0" name=""/>
        <dsp:cNvSpPr/>
      </dsp:nvSpPr>
      <dsp:spPr>
        <a:xfrm>
          <a:off x="4202" y="398995"/>
          <a:ext cx="114710" cy="11471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1F805E2-C7E3-4558-864F-D4598C8EC029}">
      <dsp:nvSpPr>
        <dsp:cNvPr id="0" name=""/>
        <dsp:cNvSpPr/>
      </dsp:nvSpPr>
      <dsp:spPr>
        <a:xfrm>
          <a:off x="4202" y="0"/>
          <a:ext cx="1561460" cy="3300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kern="1200" dirty="0"/>
            <a:t>Работа с экспертами </a:t>
          </a:r>
        </a:p>
      </dsp:txBody>
      <dsp:txXfrm>
        <a:off x="4202" y="0"/>
        <a:ext cx="1561460" cy="330004"/>
      </dsp:txXfrm>
    </dsp:sp>
    <dsp:sp modelId="{6F293819-053B-4C63-B8C0-77D981AEE425}">
      <dsp:nvSpPr>
        <dsp:cNvPr id="0" name=""/>
        <dsp:cNvSpPr/>
      </dsp:nvSpPr>
      <dsp:spPr>
        <a:xfrm>
          <a:off x="4202" y="666382"/>
          <a:ext cx="114707" cy="11470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56BCE81-03CD-4D80-B384-27AF711BC942}">
      <dsp:nvSpPr>
        <dsp:cNvPr id="0" name=""/>
        <dsp:cNvSpPr/>
      </dsp:nvSpPr>
      <dsp:spPr>
        <a:xfrm>
          <a:off x="113504" y="590044"/>
          <a:ext cx="1452158" cy="2673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72" tIns="42672" rIns="42672" bIns="42672" numCol="1" spcCol="1270" anchor="ctr" anchorCtr="0">
          <a:noAutofit/>
        </a:bodyPr>
        <a:lstStyle/>
        <a:p>
          <a:pPr marL="0" lvl="0" indent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600" kern="1200" dirty="0"/>
            <a:t>Сбор группы</a:t>
          </a:r>
        </a:p>
      </dsp:txBody>
      <dsp:txXfrm>
        <a:off x="113504" y="590044"/>
        <a:ext cx="1452158" cy="267383"/>
      </dsp:txXfrm>
    </dsp:sp>
    <dsp:sp modelId="{5922662A-AA9E-4BB9-BF91-8314A8C490F3}">
      <dsp:nvSpPr>
        <dsp:cNvPr id="0" name=""/>
        <dsp:cNvSpPr/>
      </dsp:nvSpPr>
      <dsp:spPr>
        <a:xfrm>
          <a:off x="4202" y="933766"/>
          <a:ext cx="114707" cy="11470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FD97BFD-D4BB-4BB9-B3C9-EC3597CC0F71}">
      <dsp:nvSpPr>
        <dsp:cNvPr id="0" name=""/>
        <dsp:cNvSpPr/>
      </dsp:nvSpPr>
      <dsp:spPr>
        <a:xfrm>
          <a:off x="113504" y="857428"/>
          <a:ext cx="1452158" cy="2673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72" tIns="42672" rIns="42672" bIns="42672" numCol="1" spcCol="1270" anchor="ctr" anchorCtr="0">
          <a:noAutofit/>
        </a:bodyPr>
        <a:lstStyle/>
        <a:p>
          <a:pPr marL="0" lvl="0" indent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600" kern="1200" dirty="0" err="1"/>
            <a:t>Валидация</a:t>
          </a:r>
          <a:r>
            <a:rPr lang="ru-RU" sz="600" kern="1200" dirty="0"/>
            <a:t> действующих экспертов</a:t>
          </a:r>
        </a:p>
      </dsp:txBody>
      <dsp:txXfrm>
        <a:off x="113504" y="857428"/>
        <a:ext cx="1452158" cy="267383"/>
      </dsp:txXfrm>
    </dsp:sp>
    <dsp:sp modelId="{A2D4D0BD-59ED-4B4E-B73B-C83AD39D70A2}">
      <dsp:nvSpPr>
        <dsp:cNvPr id="0" name=""/>
        <dsp:cNvSpPr/>
      </dsp:nvSpPr>
      <dsp:spPr>
        <a:xfrm>
          <a:off x="4202" y="1201150"/>
          <a:ext cx="114707" cy="11470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CA6CD0-70B9-4C3F-BFB1-F5171DB4B0F3}">
      <dsp:nvSpPr>
        <dsp:cNvPr id="0" name=""/>
        <dsp:cNvSpPr/>
      </dsp:nvSpPr>
      <dsp:spPr>
        <a:xfrm>
          <a:off x="113504" y="1124812"/>
          <a:ext cx="1452158" cy="2673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72" tIns="42672" rIns="42672" bIns="42672" numCol="1" spcCol="1270" anchor="ctr" anchorCtr="0">
          <a:noAutofit/>
        </a:bodyPr>
        <a:lstStyle/>
        <a:p>
          <a:pPr marL="0" lvl="0" indent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600" kern="1200" dirty="0"/>
            <a:t>Формирование финального состава  </a:t>
          </a:r>
        </a:p>
      </dsp:txBody>
      <dsp:txXfrm>
        <a:off x="113504" y="1124812"/>
        <a:ext cx="1452158" cy="267383"/>
      </dsp:txXfrm>
    </dsp:sp>
    <dsp:sp modelId="{D299E58D-81C2-4AF5-B0B1-167A4F0272E0}">
      <dsp:nvSpPr>
        <dsp:cNvPr id="0" name=""/>
        <dsp:cNvSpPr/>
      </dsp:nvSpPr>
      <dsp:spPr>
        <a:xfrm>
          <a:off x="1643735" y="330004"/>
          <a:ext cx="1561460" cy="18370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E59DD5-25A7-49D8-8283-A427C6A69E2A}">
      <dsp:nvSpPr>
        <dsp:cNvPr id="0" name=""/>
        <dsp:cNvSpPr/>
      </dsp:nvSpPr>
      <dsp:spPr>
        <a:xfrm>
          <a:off x="1643735" y="398995"/>
          <a:ext cx="114710" cy="11471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AB5B1A-060A-421F-958D-9C1F4249429A}">
      <dsp:nvSpPr>
        <dsp:cNvPr id="0" name=""/>
        <dsp:cNvSpPr/>
      </dsp:nvSpPr>
      <dsp:spPr>
        <a:xfrm>
          <a:off x="1643735" y="0"/>
          <a:ext cx="1561460" cy="3300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kern="1200" dirty="0"/>
            <a:t>Работа с органами власти</a:t>
          </a:r>
        </a:p>
      </dsp:txBody>
      <dsp:txXfrm>
        <a:off x="1643735" y="0"/>
        <a:ext cx="1561460" cy="330004"/>
      </dsp:txXfrm>
    </dsp:sp>
    <dsp:sp modelId="{55369203-B56B-48A8-85AF-76D306E54E43}">
      <dsp:nvSpPr>
        <dsp:cNvPr id="0" name=""/>
        <dsp:cNvSpPr/>
      </dsp:nvSpPr>
      <dsp:spPr>
        <a:xfrm>
          <a:off x="1643735" y="666382"/>
          <a:ext cx="114707" cy="11470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8F55961-B40D-4DA9-B1A6-8C71FAE02EFE}">
      <dsp:nvSpPr>
        <dsp:cNvPr id="0" name=""/>
        <dsp:cNvSpPr/>
      </dsp:nvSpPr>
      <dsp:spPr>
        <a:xfrm>
          <a:off x="1753038" y="590044"/>
          <a:ext cx="1452158" cy="2673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72" tIns="42672" rIns="42672" bIns="42672" numCol="1" spcCol="1270" anchor="ctr" anchorCtr="0">
          <a:noAutofit/>
        </a:bodyPr>
        <a:lstStyle/>
        <a:p>
          <a:pPr marL="0" lvl="0" indent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600" kern="1200" dirty="0"/>
            <a:t>Направление письма </a:t>
          </a:r>
        </a:p>
      </dsp:txBody>
      <dsp:txXfrm>
        <a:off x="1753038" y="590044"/>
        <a:ext cx="1452158" cy="267383"/>
      </dsp:txXfrm>
    </dsp:sp>
    <dsp:sp modelId="{0FD0FA5B-0022-47B1-88B5-A336C71A189A}">
      <dsp:nvSpPr>
        <dsp:cNvPr id="0" name=""/>
        <dsp:cNvSpPr/>
      </dsp:nvSpPr>
      <dsp:spPr>
        <a:xfrm>
          <a:off x="1643735" y="933766"/>
          <a:ext cx="114707" cy="11470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AF5AC3-9352-4CA3-8A89-14439B7619A8}">
      <dsp:nvSpPr>
        <dsp:cNvPr id="0" name=""/>
        <dsp:cNvSpPr/>
      </dsp:nvSpPr>
      <dsp:spPr>
        <a:xfrm>
          <a:off x="1753038" y="857428"/>
          <a:ext cx="1452158" cy="2673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72" tIns="42672" rIns="42672" bIns="42672" numCol="1" spcCol="1270" anchor="ctr" anchorCtr="0">
          <a:noAutofit/>
        </a:bodyPr>
        <a:lstStyle/>
        <a:p>
          <a:pPr marL="0" lvl="0" indent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600" kern="1200" dirty="0"/>
            <a:t>Запрос на представление результатов </a:t>
          </a:r>
        </a:p>
      </dsp:txBody>
      <dsp:txXfrm>
        <a:off x="1753038" y="857428"/>
        <a:ext cx="1452158" cy="267383"/>
      </dsp:txXfrm>
    </dsp:sp>
    <dsp:sp modelId="{14F32653-9E33-4797-8505-37F27411011D}">
      <dsp:nvSpPr>
        <dsp:cNvPr id="0" name=""/>
        <dsp:cNvSpPr/>
      </dsp:nvSpPr>
      <dsp:spPr>
        <a:xfrm>
          <a:off x="3283269" y="330004"/>
          <a:ext cx="1561460" cy="18370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EDBA365-77C3-46DA-9C8C-88C856A4F67F}">
      <dsp:nvSpPr>
        <dsp:cNvPr id="0" name=""/>
        <dsp:cNvSpPr/>
      </dsp:nvSpPr>
      <dsp:spPr>
        <a:xfrm>
          <a:off x="3283269" y="398995"/>
          <a:ext cx="114710" cy="11471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3802E1-DA65-4A5A-870F-040036C69CA7}">
      <dsp:nvSpPr>
        <dsp:cNvPr id="0" name=""/>
        <dsp:cNvSpPr/>
      </dsp:nvSpPr>
      <dsp:spPr>
        <a:xfrm>
          <a:off x="3283269" y="0"/>
          <a:ext cx="1561460" cy="3300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kern="1200" dirty="0"/>
            <a:t>Заседания </a:t>
          </a:r>
        </a:p>
      </dsp:txBody>
      <dsp:txXfrm>
        <a:off x="3283269" y="0"/>
        <a:ext cx="1561460" cy="330004"/>
      </dsp:txXfrm>
    </dsp:sp>
    <dsp:sp modelId="{CC392EF4-4F4F-4EE4-AC66-36A04AE7464E}">
      <dsp:nvSpPr>
        <dsp:cNvPr id="0" name=""/>
        <dsp:cNvSpPr/>
      </dsp:nvSpPr>
      <dsp:spPr>
        <a:xfrm>
          <a:off x="3283269" y="666382"/>
          <a:ext cx="114707" cy="11470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CDC400-CFD3-410A-9B27-5B1CC112D387}">
      <dsp:nvSpPr>
        <dsp:cNvPr id="0" name=""/>
        <dsp:cNvSpPr/>
      </dsp:nvSpPr>
      <dsp:spPr>
        <a:xfrm>
          <a:off x="3392571" y="590044"/>
          <a:ext cx="1452158" cy="2673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72" tIns="42672" rIns="42672" bIns="42672" numCol="1" spcCol="1270" anchor="ctr" anchorCtr="0">
          <a:noAutofit/>
        </a:bodyPr>
        <a:lstStyle/>
        <a:p>
          <a:pPr marL="0" lvl="0" indent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600" kern="1200" dirty="0"/>
            <a:t>Сбор заседания</a:t>
          </a:r>
        </a:p>
      </dsp:txBody>
      <dsp:txXfrm>
        <a:off x="3392571" y="590044"/>
        <a:ext cx="1452158" cy="267383"/>
      </dsp:txXfrm>
    </dsp:sp>
    <dsp:sp modelId="{0867EC89-9E4F-4F18-AEA5-8660D8B6155E}">
      <dsp:nvSpPr>
        <dsp:cNvPr id="0" name=""/>
        <dsp:cNvSpPr/>
      </dsp:nvSpPr>
      <dsp:spPr>
        <a:xfrm>
          <a:off x="3283269" y="933766"/>
          <a:ext cx="114707" cy="11470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FF76A4C-05EF-481E-9673-4B785EAB2F42}">
      <dsp:nvSpPr>
        <dsp:cNvPr id="0" name=""/>
        <dsp:cNvSpPr/>
      </dsp:nvSpPr>
      <dsp:spPr>
        <a:xfrm>
          <a:off x="3392571" y="857428"/>
          <a:ext cx="1452158" cy="2673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72" tIns="42672" rIns="42672" bIns="42672" numCol="1" spcCol="1270" anchor="ctr" anchorCtr="0">
          <a:noAutofit/>
        </a:bodyPr>
        <a:lstStyle/>
        <a:p>
          <a:pPr marL="0" lvl="0" indent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600" kern="1200" dirty="0"/>
            <a:t>3 заседания максимум</a:t>
          </a:r>
        </a:p>
      </dsp:txBody>
      <dsp:txXfrm>
        <a:off x="3392571" y="857428"/>
        <a:ext cx="1452158" cy="267383"/>
      </dsp:txXfrm>
    </dsp:sp>
    <dsp:sp modelId="{043E071C-4F7D-466B-B7BA-24C82B1C235D}">
      <dsp:nvSpPr>
        <dsp:cNvPr id="0" name=""/>
        <dsp:cNvSpPr/>
      </dsp:nvSpPr>
      <dsp:spPr>
        <a:xfrm>
          <a:off x="3283269" y="1201150"/>
          <a:ext cx="114707" cy="11470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459659F-D6A0-49DB-B832-DD68BF7B9E9E}">
      <dsp:nvSpPr>
        <dsp:cNvPr id="0" name=""/>
        <dsp:cNvSpPr/>
      </dsp:nvSpPr>
      <dsp:spPr>
        <a:xfrm>
          <a:off x="3392571" y="1124812"/>
          <a:ext cx="1452158" cy="2673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72" tIns="42672" rIns="42672" bIns="42672" numCol="1" spcCol="1270" anchor="ctr" anchorCtr="0">
          <a:noAutofit/>
        </a:bodyPr>
        <a:lstStyle/>
        <a:p>
          <a:pPr marL="0" lvl="0" indent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600" kern="1200" dirty="0"/>
            <a:t>Регистрация в </a:t>
          </a:r>
          <a:r>
            <a:rPr lang="en-US" sz="600" kern="1200" dirty="0"/>
            <a:t>Leader ID (#</a:t>
          </a:r>
          <a:r>
            <a:rPr lang="ru-RU" sz="600" kern="1200" dirty="0" err="1"/>
            <a:t>инвестстандарт</a:t>
          </a:r>
          <a:r>
            <a:rPr lang="en-US" sz="600" kern="1200" dirty="0"/>
            <a:t>)</a:t>
          </a:r>
          <a:r>
            <a:rPr lang="ru-RU" sz="600" kern="1200" dirty="0"/>
            <a:t> </a:t>
          </a:r>
        </a:p>
      </dsp:txBody>
      <dsp:txXfrm>
        <a:off x="3392571" y="1124812"/>
        <a:ext cx="1452158" cy="267383"/>
      </dsp:txXfrm>
    </dsp:sp>
    <dsp:sp modelId="{1C9A3C6C-030C-4CE1-AE23-24493F4C68B4}">
      <dsp:nvSpPr>
        <dsp:cNvPr id="0" name=""/>
        <dsp:cNvSpPr/>
      </dsp:nvSpPr>
      <dsp:spPr>
        <a:xfrm>
          <a:off x="4922803" y="330004"/>
          <a:ext cx="1561460" cy="18370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F244109-4BF7-437D-B2E0-DE97ACD65E74}">
      <dsp:nvSpPr>
        <dsp:cNvPr id="0" name=""/>
        <dsp:cNvSpPr/>
      </dsp:nvSpPr>
      <dsp:spPr>
        <a:xfrm>
          <a:off x="4922803" y="398995"/>
          <a:ext cx="114710" cy="11471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D7149A-DE65-4173-B28E-10EBF6B2A1A1}">
      <dsp:nvSpPr>
        <dsp:cNvPr id="0" name=""/>
        <dsp:cNvSpPr/>
      </dsp:nvSpPr>
      <dsp:spPr>
        <a:xfrm>
          <a:off x="4922803" y="0"/>
          <a:ext cx="1561460" cy="3300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kern="1200" dirty="0"/>
            <a:t>Загрузка результатов</a:t>
          </a:r>
        </a:p>
      </dsp:txBody>
      <dsp:txXfrm>
        <a:off x="4922803" y="0"/>
        <a:ext cx="1561460" cy="330004"/>
      </dsp:txXfrm>
    </dsp:sp>
    <dsp:sp modelId="{33EA013F-8010-4314-B1B5-8E7E88B6F74F}">
      <dsp:nvSpPr>
        <dsp:cNvPr id="0" name=""/>
        <dsp:cNvSpPr/>
      </dsp:nvSpPr>
      <dsp:spPr>
        <a:xfrm>
          <a:off x="4922803" y="666382"/>
          <a:ext cx="114707" cy="11470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23962C9-364A-4A58-857D-07A2B6CA4258}">
      <dsp:nvSpPr>
        <dsp:cNvPr id="0" name=""/>
        <dsp:cNvSpPr/>
      </dsp:nvSpPr>
      <dsp:spPr>
        <a:xfrm>
          <a:off x="5032105" y="590044"/>
          <a:ext cx="1452158" cy="2673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72" tIns="42672" rIns="42672" bIns="42672" numCol="1" spcCol="1270" anchor="ctr" anchorCtr="0">
          <a:noAutofit/>
        </a:bodyPr>
        <a:lstStyle/>
        <a:p>
          <a:pPr marL="0" lvl="0" indent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600" kern="1200" dirty="0"/>
            <a:t>На сайт как по </a:t>
          </a:r>
          <a:r>
            <a:rPr lang="ru-RU" sz="600" kern="1200" dirty="0" err="1"/>
            <a:t>Смартеке</a:t>
          </a:r>
          <a:endParaRPr lang="ru-RU" sz="600" kern="1200" dirty="0"/>
        </a:p>
      </dsp:txBody>
      <dsp:txXfrm>
        <a:off x="5032105" y="590044"/>
        <a:ext cx="1452158" cy="267383"/>
      </dsp:txXfrm>
    </dsp:sp>
    <dsp:sp modelId="{28748EAF-F3C5-442A-BD00-BEA9B6206D3D}">
      <dsp:nvSpPr>
        <dsp:cNvPr id="0" name=""/>
        <dsp:cNvSpPr/>
      </dsp:nvSpPr>
      <dsp:spPr>
        <a:xfrm>
          <a:off x="4922803" y="933766"/>
          <a:ext cx="114707" cy="11470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BE6607-E60F-4407-A9DF-4A9D3C62A5F3}">
      <dsp:nvSpPr>
        <dsp:cNvPr id="0" name=""/>
        <dsp:cNvSpPr/>
      </dsp:nvSpPr>
      <dsp:spPr>
        <a:xfrm>
          <a:off x="5032105" y="857428"/>
          <a:ext cx="1452158" cy="2673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72" tIns="42672" rIns="42672" bIns="42672" numCol="1" spcCol="1270" anchor="ctr" anchorCtr="0">
          <a:noAutofit/>
        </a:bodyPr>
        <a:lstStyle/>
        <a:p>
          <a:pPr marL="0" lvl="0" indent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600" kern="1200" dirty="0"/>
            <a:t>Обязательно запись  и список участников</a:t>
          </a:r>
        </a:p>
      </dsp:txBody>
      <dsp:txXfrm>
        <a:off x="5032105" y="857428"/>
        <a:ext cx="1452158" cy="267383"/>
      </dsp:txXfrm>
    </dsp:sp>
    <dsp:sp modelId="{7DF0074F-5ACD-4F5B-8E80-669E54E286E0}">
      <dsp:nvSpPr>
        <dsp:cNvPr id="0" name=""/>
        <dsp:cNvSpPr/>
      </dsp:nvSpPr>
      <dsp:spPr>
        <a:xfrm>
          <a:off x="6562337" y="330004"/>
          <a:ext cx="1561460" cy="18370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90FAF2-6D53-4DC6-A3A0-D59F2224F47C}">
      <dsp:nvSpPr>
        <dsp:cNvPr id="0" name=""/>
        <dsp:cNvSpPr/>
      </dsp:nvSpPr>
      <dsp:spPr>
        <a:xfrm>
          <a:off x="6562337" y="398995"/>
          <a:ext cx="114710" cy="11471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81E09F-7FD8-4E0B-86CA-34F7CA582B3D}">
      <dsp:nvSpPr>
        <dsp:cNvPr id="0" name=""/>
        <dsp:cNvSpPr/>
      </dsp:nvSpPr>
      <dsp:spPr>
        <a:xfrm>
          <a:off x="6562337" y="0"/>
          <a:ext cx="1561460" cy="3300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kern="1200" dirty="0"/>
            <a:t>Анализ результатов </a:t>
          </a:r>
        </a:p>
      </dsp:txBody>
      <dsp:txXfrm>
        <a:off x="6562337" y="0"/>
        <a:ext cx="1561460" cy="3300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2945659" cy="498136"/>
          </a:xfrm>
          <a:prstGeom prst="rect">
            <a:avLst/>
          </a:prstGeom>
        </p:spPr>
        <p:txBody>
          <a:bodyPr vert="horz" lIns="92482" tIns="46242" rIns="92482" bIns="46242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8" y="3"/>
            <a:ext cx="2945659" cy="498136"/>
          </a:xfrm>
          <a:prstGeom prst="rect">
            <a:avLst/>
          </a:prstGeom>
        </p:spPr>
        <p:txBody>
          <a:bodyPr vert="horz" lIns="92482" tIns="46242" rIns="92482" bIns="46242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3/2/22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30095"/>
            <a:ext cx="2945659" cy="498135"/>
          </a:xfrm>
          <a:prstGeom prst="rect">
            <a:avLst/>
          </a:prstGeom>
        </p:spPr>
        <p:txBody>
          <a:bodyPr vert="horz" lIns="92482" tIns="46242" rIns="92482" bIns="46242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8" y="9430095"/>
            <a:ext cx="2945659" cy="498135"/>
          </a:xfrm>
          <a:prstGeom prst="rect">
            <a:avLst/>
          </a:prstGeom>
        </p:spPr>
        <p:txBody>
          <a:bodyPr vert="horz" lIns="92482" tIns="46242" rIns="92482" bIns="46242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1" y="4741261"/>
            <a:ext cx="6796102" cy="51869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82" tIns="46242" rIns="92482" bIns="46242" rtlCol="0" anchor="ctr"/>
          <a:lstStyle/>
          <a:p>
            <a:pPr algn="ctr"/>
            <a:endParaRPr lang="en-US" dirty="0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0622" y="3"/>
            <a:ext cx="2865041" cy="498136"/>
          </a:xfrm>
          <a:prstGeom prst="rect">
            <a:avLst/>
          </a:prstGeom>
        </p:spPr>
        <p:txBody>
          <a:bodyPr vert="horz" lIns="92482" tIns="46242" rIns="92482" bIns="46242" rtlCol="0"/>
          <a:lstStyle>
            <a:lvl1pPr algn="l">
              <a:defRPr sz="14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168275" y="617538"/>
            <a:ext cx="7116763" cy="4003675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82" tIns="46242" rIns="92482" bIns="46242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0622" y="9399378"/>
            <a:ext cx="2865041" cy="498135"/>
          </a:xfrm>
          <a:prstGeom prst="rect">
            <a:avLst/>
          </a:prstGeom>
        </p:spPr>
        <p:txBody>
          <a:bodyPr vert="horz" lIns="92482" tIns="46242" rIns="92482" bIns="46242" rtlCol="0" anchor="b"/>
          <a:lstStyle>
            <a:lvl1pPr algn="l">
              <a:defRPr sz="14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7" y="9399378"/>
            <a:ext cx="2855929" cy="498135"/>
          </a:xfrm>
          <a:prstGeom prst="rect">
            <a:avLst/>
          </a:prstGeom>
        </p:spPr>
        <p:txBody>
          <a:bodyPr vert="horz" lIns="92482" tIns="46242" rIns="92482" bIns="46242" rtlCol="0" anchor="b"/>
          <a:lstStyle>
            <a:lvl1pPr algn="r">
              <a:defRPr sz="1400"/>
            </a:lvl1pPr>
          </a:lstStyle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3829" y="5067969"/>
            <a:ext cx="6272792" cy="4051392"/>
          </a:xfrm>
          <a:prstGeom prst="rect">
            <a:avLst/>
          </a:prstGeom>
        </p:spPr>
        <p:txBody>
          <a:bodyPr vert="horz" lIns="92482" tIns="46242" rIns="92482" bIns="46242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850672" y="1"/>
            <a:ext cx="2945453" cy="498289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3/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29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jpe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0213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28" name="Слайд think-cell" r:id="rId5" imgW="384" imgH="384" progId="TCLayout.ActiveDocument.1">
                  <p:embed/>
                </p:oleObj>
              </mc:Choice>
              <mc:Fallback>
                <p:oleObj name="Слайд think-cell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17" hasCustomPrompt="1"/>
          </p:nvPr>
        </p:nvSpPr>
        <p:spPr>
          <a:xfrm>
            <a:off x="439497" y="6012366"/>
            <a:ext cx="4119205" cy="397201"/>
          </a:xfrm>
          <a:prstGeom prst="rect">
            <a:avLst/>
          </a:prstGeom>
        </p:spPr>
        <p:txBody>
          <a:bodyPr anchor="ctr"/>
          <a:lstStyle>
            <a:lvl1pPr>
              <a:defRPr sz="1300" b="1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dirty="0" err="1"/>
              <a:t>Mockba</a:t>
            </a:r>
            <a:r>
              <a:rPr lang="en-US" dirty="0"/>
              <a:t>     |     Date (Arial, 13 </a:t>
            </a:r>
            <a:r>
              <a:rPr lang="en-US" dirty="0" err="1"/>
              <a:t>pt</a:t>
            </a:r>
            <a:r>
              <a:rPr lang="en-US" dirty="0"/>
              <a:t> bold Dark Gray)</a:t>
            </a:r>
          </a:p>
        </p:txBody>
      </p:sp>
      <p:sp>
        <p:nvSpPr>
          <p:cNvPr id="16" name="Text Placeholder 35"/>
          <p:cNvSpPr>
            <a:spLocks noGrp="1"/>
          </p:cNvSpPr>
          <p:nvPr>
            <p:ph type="body" sz="quarter" idx="18" hasCustomPrompt="1"/>
          </p:nvPr>
        </p:nvSpPr>
        <p:spPr>
          <a:xfrm>
            <a:off x="439496" y="2446200"/>
            <a:ext cx="7842655" cy="1140100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buNone/>
              <a:defRPr sz="2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 (Arial, 24pt bold Dark Blue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39496" y="3586300"/>
            <a:ext cx="7842655" cy="825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t" anchorCtr="0">
            <a:noAutofit/>
          </a:bodyPr>
          <a:lstStyle>
            <a:lvl1pPr marL="0" indent="0">
              <a:buSzPts val="2400"/>
              <a:defRPr lang="ru-RU" sz="2000" b="0" dirty="0" smtClean="0">
                <a:solidFill>
                  <a:srgbClr val="008FC8"/>
                </a:solidFill>
                <a:latin typeface="+mn-lt"/>
                <a:cs typeface="+mn-cs"/>
              </a:defRPr>
            </a:lvl1pPr>
          </a:lstStyle>
          <a:p>
            <a:pPr marL="342900" lvl="0" indent="-342900">
              <a:buSzPts val="2400"/>
              <a:buFont typeface=""/>
              <a:buNone/>
            </a:pPr>
            <a:r>
              <a:rPr lang="en-US" sz="2000" dirty="0">
                <a:solidFill>
                  <a:srgbClr val="008FC8"/>
                </a:solidFill>
              </a:rPr>
              <a:t>Subtitle (Arial, 20pt non-bold Accent Blue)</a:t>
            </a:r>
            <a:endParaRPr lang="ru-RU" sz="2000" dirty="0">
              <a:solidFill>
                <a:srgbClr val="008FC8"/>
              </a:solidFill>
            </a:endParaRPr>
          </a:p>
        </p:txBody>
      </p:sp>
      <p:pic>
        <p:nvPicPr>
          <p:cNvPr id="19" name="Picture 1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6552" y="115546"/>
            <a:ext cx="2784536" cy="1348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2687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90" name="Слайд think-cell" r:id="rId4" imgW="324" imgH="324" progId="TCLayout.ActiveDocument.1">
                  <p:embed/>
                </p:oleObj>
              </mc:Choice>
              <mc:Fallback>
                <p:oleObj name="Слайд think-cell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6197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37" name="Слайд think-cell" r:id="rId4" imgW="324" imgH="324" progId="TCLayout.ActiveDocument.1">
                  <p:embed/>
                </p:oleObj>
              </mc:Choice>
              <mc:Fallback>
                <p:oleObj name="Слайд think-cell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53693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11" name="Слайд think-cell" r:id="rId4" imgW="384" imgH="384" progId="TCLayout.ActiveDocument.1">
                  <p:embed/>
                </p:oleObj>
              </mc:Choice>
              <mc:Fallback>
                <p:oleObj name="Слайд think-cell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3824966" y="3179701"/>
            <a:ext cx="4543417" cy="498598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lIns="91440" tIns="45720" rIns="91440" bIns="45720" rtlCol="0" anchor="ctr">
            <a:noAutofit/>
          </a:bodyPr>
          <a:lstStyle>
            <a:lvl1pPr marL="342900" lvl="0" indent="-34290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SzPts val="2400"/>
              <a:buFont typeface=""/>
              <a:buNone/>
              <a:defRPr lang="en-US" sz="2400" b="1">
                <a:solidFill>
                  <a:srgbClr val="345782"/>
                </a:solidFill>
                <a:sym typeface="Trebuchet MS" panose="020B0603020202020204" pitchFamily="34" charset="0"/>
              </a:defRPr>
            </a:lvl1pPr>
            <a:lvl2pPr marL="284400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solidFill>
                  <a:schemeClr val="lt1"/>
                </a:solidFill>
                <a:sym typeface="Trebuchet MS" panose="020B0603020202020204" pitchFamily="34" charset="0"/>
              </a:defRPr>
            </a:lvl2pPr>
            <a:lvl3pPr marL="511200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solidFill>
                  <a:schemeClr val="lt1"/>
                </a:solidFill>
                <a:sym typeface="Trebuchet MS" panose="020B0603020202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lt1"/>
                </a:solidFill>
                <a:sym typeface="Trebuchet MS" panose="020B0603020202020204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lt1"/>
                </a:solidFill>
                <a:sym typeface="Trebuchet MS" panose="020B0603020202020204" pitchFamily="34" charset="0"/>
              </a:defRPr>
            </a:lvl5pPr>
            <a:lvl6pPr marL="26987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solidFill>
                  <a:schemeClr val="lt1"/>
                </a:solidFill>
                <a:sym typeface="Trebuchet MS" panose="020B0603020202020204" pitchFamily="34" charset="0"/>
              </a:defRPr>
            </a:lvl6pPr>
            <a:lvl7pPr marL="0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lt1"/>
                </a:solidFill>
                <a:sym typeface="Trebuchet MS" panose="020B0603020202020204" pitchFamily="34" charset="0"/>
              </a:defRPr>
            </a:lvl7pPr>
            <a:lvl8pPr marL="0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lt1"/>
                </a:solidFill>
                <a:sym typeface="Trebuchet MS" panose="020B06030202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lt1"/>
                </a:solidFill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Tx/>
              <a:buSzPts val="2400"/>
              <a:buFont typeface=""/>
              <a:buNone/>
              <a:tabLst/>
              <a:defRPr/>
            </a:pPr>
            <a:r>
              <a:rPr kumimoji="0" lang="ru-RU" sz="3200" b="1" i="0" u="none" strike="noStrike" kern="0" cap="none" spc="0" normalizeH="0" baseline="0" noProof="0" dirty="0">
                <a:ln>
                  <a:noFill/>
                </a:ln>
                <a:solidFill>
                  <a:srgbClr val="345782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Trebuchet MS" panose="020B0603020202020204" pitchFamily="34" charset="0"/>
              </a:rPr>
              <a:t>Спасибо за внимание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345782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40752" y="6012366"/>
            <a:ext cx="5068219" cy="397201"/>
          </a:xfrm>
          <a:prstGeom prst="rect">
            <a:avLst/>
          </a:prstGeom>
          <a:noFill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none" lIns="91440" tIns="90000" rIns="91440" bIns="90000" rtlCol="0" anchor="t">
            <a:spAutoFit/>
          </a:bodyPr>
          <a:lstStyle>
            <a:lvl1pPr marL="285750" lvl="0" indent="-28575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SzPts val="1400"/>
              <a:buFont typeface=""/>
              <a:buNone/>
              <a:defRPr lang="en-US" sz="1400" b="1">
                <a:solidFill>
                  <a:srgbClr val="808080"/>
                </a:solidFill>
                <a:sym typeface="Trebuchet MS" panose="020B0603020202020204" pitchFamily="34" charset="0"/>
              </a:defRPr>
            </a:lvl1pPr>
            <a:lvl2pPr marL="284400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defRPr>
            </a:lvl2pPr>
            <a:lvl3pPr marL="511200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defRPr>
            </a:lvl5pPr>
            <a:lvl6pPr marL="26987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defRPr>
            </a:lvl6pPr>
            <a:lvl7pPr marL="0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defRPr>
            </a:lvl7pPr>
            <a:lvl8pPr marL="0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Tx/>
              <a:buSzPts val="1400"/>
              <a:buFont typeface=""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sym typeface="Trebuchet MS" panose="020B0603020202020204" pitchFamily="34" charset="0"/>
              </a:rPr>
              <a:t>Москва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sym typeface="Trebuchet MS" panose="020B0603020202020204" pitchFamily="34" charset="0"/>
            </a:endParaRPr>
          </a:p>
        </p:txBody>
      </p:sp>
      <p:sp>
        <p:nvSpPr>
          <p:cNvPr id="12" name="Rectangle 122"/>
          <p:cNvSpPr>
            <a:spLocks noChangeArrowheads="1"/>
          </p:cNvSpPr>
          <p:nvPr userDrawn="1"/>
        </p:nvSpPr>
        <p:spPr bwMode="auto">
          <a:xfrm>
            <a:off x="579787" y="5956804"/>
            <a:ext cx="11028646" cy="55562"/>
          </a:xfrm>
          <a:prstGeom prst="rect">
            <a:avLst/>
          </a:prstGeom>
          <a:gradFill rotWithShape="1">
            <a:gsLst>
              <a:gs pos="0">
                <a:srgbClr val="345782"/>
              </a:gs>
              <a:gs pos="100000">
                <a:srgbClr val="FFFFFF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tIns="91440" bIns="9144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5281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52" name="Слайд think-cell" r:id="rId5" imgW="384" imgH="384" progId="TCLayout.ActiveDocument.1">
                  <p:embed/>
                </p:oleObj>
              </mc:Choice>
              <mc:Fallback>
                <p:oleObj name="Слайд think-cell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Text Placeholder 33"/>
          <p:cNvSpPr>
            <a:spLocks noGrp="1"/>
          </p:cNvSpPr>
          <p:nvPr>
            <p:ph type="body" sz="quarter" idx="17" hasCustomPrompt="1"/>
          </p:nvPr>
        </p:nvSpPr>
        <p:spPr>
          <a:xfrm>
            <a:off x="439497" y="6012366"/>
            <a:ext cx="4119205" cy="397201"/>
          </a:xfrm>
          <a:prstGeom prst="rect">
            <a:avLst/>
          </a:prstGeom>
        </p:spPr>
        <p:txBody>
          <a:bodyPr anchor="ctr"/>
          <a:lstStyle>
            <a:lvl1pPr>
              <a:defRPr sz="1300" b="1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dirty="0" err="1"/>
              <a:t>Mockba</a:t>
            </a:r>
            <a:r>
              <a:rPr lang="en-US" dirty="0"/>
              <a:t>     |     Date (Arial, 13 </a:t>
            </a:r>
            <a:r>
              <a:rPr lang="en-US" dirty="0" err="1"/>
              <a:t>pt</a:t>
            </a:r>
            <a:r>
              <a:rPr lang="en-US" dirty="0"/>
              <a:t> bold Dark Gray)</a:t>
            </a:r>
          </a:p>
        </p:txBody>
      </p:sp>
      <p:sp>
        <p:nvSpPr>
          <p:cNvPr id="17" name="Text Placeholder 35"/>
          <p:cNvSpPr>
            <a:spLocks noGrp="1"/>
          </p:cNvSpPr>
          <p:nvPr>
            <p:ph type="body" sz="quarter" idx="18" hasCustomPrompt="1"/>
          </p:nvPr>
        </p:nvSpPr>
        <p:spPr>
          <a:xfrm>
            <a:off x="439496" y="2446200"/>
            <a:ext cx="7842655" cy="1140100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buNone/>
              <a:defRPr sz="2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 (Arial, 24pt bold Dark Blue)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39496" y="3586300"/>
            <a:ext cx="7842655" cy="825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t" anchorCtr="0">
            <a:noAutofit/>
          </a:bodyPr>
          <a:lstStyle>
            <a:lvl1pPr marL="0" indent="0">
              <a:buSzPts val="2400"/>
              <a:defRPr lang="ru-RU" sz="2000" b="0" dirty="0" smtClean="0">
                <a:solidFill>
                  <a:srgbClr val="008FC8"/>
                </a:solidFill>
                <a:latin typeface="+mn-lt"/>
                <a:cs typeface="+mn-cs"/>
              </a:defRPr>
            </a:lvl1pPr>
          </a:lstStyle>
          <a:p>
            <a:pPr marL="342900" lvl="0" indent="-342900">
              <a:buSzPts val="2400"/>
              <a:buFont typeface=""/>
              <a:buNone/>
            </a:pPr>
            <a:r>
              <a:rPr lang="en-US" sz="2000" dirty="0">
                <a:solidFill>
                  <a:srgbClr val="008FC8"/>
                </a:solidFill>
              </a:rPr>
              <a:t>Subtitle (Arial, 20pt non-bold Accent Blue)</a:t>
            </a:r>
            <a:endParaRPr lang="ru-RU" sz="2000" dirty="0">
              <a:solidFill>
                <a:srgbClr val="008FC8"/>
              </a:solidFill>
            </a:endParaRPr>
          </a:p>
        </p:txBody>
      </p:sp>
      <p:pic>
        <p:nvPicPr>
          <p:cNvPr id="23" name="Picture 1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6552" y="115546"/>
            <a:ext cx="2784536" cy="1348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  <a:prstGeom prst="rect">
            <a:avLst/>
          </a:prstGeom>
        </p:spPr>
        <p:txBody>
          <a:bodyPr/>
          <a:lstStyle>
            <a:lvl1pPr>
              <a:defRPr sz="34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prstGeom prst="rect">
            <a:avLst/>
          </a:prstGeo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9571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814" name="Слайд think-cell" r:id="rId4" imgW="324" imgH="324" progId="TCLayout.ActiveDocument.1">
                  <p:embed/>
                </p:oleObj>
              </mc:Choice>
              <mc:Fallback>
                <p:oleObj name="Слайд think-cell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6580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59" name="Слайд think-cell" r:id="rId4" imgW="384" imgH="384" progId="TCLayout.ActiveDocument.1">
                  <p:embed/>
                </p:oleObj>
              </mc:Choice>
              <mc:Fallback>
                <p:oleObj name="Слайд think-cell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538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32" name="Слайд think-cell" r:id="rId4" imgW="384" imgH="384" progId="TCLayout.ActiveDocument.1">
                  <p:embed/>
                </p:oleObj>
              </mc:Choice>
              <mc:Fallback>
                <p:oleObj name="Слайд think-cell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>
          <a:xfrm>
            <a:off x="4834759" y="3179701"/>
            <a:ext cx="2522482" cy="498598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lIns="91440" tIns="45720" rIns="91440" bIns="45720" rtlCol="0" anchor="ctr">
            <a:noAutofit/>
          </a:bodyPr>
          <a:lstStyle>
            <a:lvl1pPr marL="342900" lvl="0" indent="-34290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SzPts val="2400"/>
              <a:buFont typeface=""/>
              <a:buNone/>
              <a:defRPr lang="en-US" sz="2400" b="1">
                <a:solidFill>
                  <a:srgbClr val="345782"/>
                </a:solidFill>
                <a:sym typeface="Trebuchet MS" panose="020B0603020202020204" pitchFamily="34" charset="0"/>
              </a:defRPr>
            </a:lvl1pPr>
            <a:lvl2pPr marL="284400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solidFill>
                  <a:schemeClr val="lt1"/>
                </a:solidFill>
                <a:sym typeface="Trebuchet MS" panose="020B0603020202020204" pitchFamily="34" charset="0"/>
              </a:defRPr>
            </a:lvl2pPr>
            <a:lvl3pPr marL="511200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solidFill>
                  <a:schemeClr val="lt1"/>
                </a:solidFill>
                <a:sym typeface="Trebuchet MS" panose="020B0603020202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lt1"/>
                </a:solidFill>
                <a:sym typeface="Trebuchet MS" panose="020B0603020202020204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lt1"/>
                </a:solidFill>
                <a:sym typeface="Trebuchet MS" panose="020B0603020202020204" pitchFamily="34" charset="0"/>
              </a:defRPr>
            </a:lvl5pPr>
            <a:lvl6pPr marL="26987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solidFill>
                  <a:schemeClr val="lt1"/>
                </a:solidFill>
                <a:sym typeface="Trebuchet MS" panose="020B0603020202020204" pitchFamily="34" charset="0"/>
              </a:defRPr>
            </a:lvl6pPr>
            <a:lvl7pPr marL="0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lt1"/>
                </a:solidFill>
                <a:sym typeface="Trebuchet MS" panose="020B0603020202020204" pitchFamily="34" charset="0"/>
              </a:defRPr>
            </a:lvl7pPr>
            <a:lvl8pPr marL="0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lt1"/>
                </a:solidFill>
                <a:sym typeface="Trebuchet MS" panose="020B06030202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lt1"/>
                </a:solidFill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Tx/>
              <a:buSzPts val="2400"/>
              <a:buFont typeface="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345782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Trebuchet MS" panose="020B0603020202020204" pitchFamily="34" charset="0"/>
              </a:rPr>
              <a:t>Thank you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40752" y="6012366"/>
            <a:ext cx="5068219" cy="397201"/>
          </a:xfrm>
          <a:prstGeom prst="rect">
            <a:avLst/>
          </a:prstGeom>
          <a:noFill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none" lIns="91440" tIns="90000" rIns="91440" bIns="90000" rtlCol="0" anchor="t">
            <a:spAutoFit/>
          </a:bodyPr>
          <a:lstStyle>
            <a:lvl1pPr marL="285750" lvl="0" indent="-28575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SzPts val="1400"/>
              <a:buFont typeface=""/>
              <a:buNone/>
              <a:defRPr lang="en-US" sz="1400" b="1">
                <a:solidFill>
                  <a:srgbClr val="808080"/>
                </a:solidFill>
                <a:sym typeface="Trebuchet MS" panose="020B0603020202020204" pitchFamily="34" charset="0"/>
              </a:defRPr>
            </a:lvl1pPr>
            <a:lvl2pPr marL="284400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defRPr>
            </a:lvl2pPr>
            <a:lvl3pPr marL="511200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defRPr>
            </a:lvl5pPr>
            <a:lvl6pPr marL="26987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defRPr>
            </a:lvl6pPr>
            <a:lvl7pPr marL="0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defRPr>
            </a:lvl7pPr>
            <a:lvl8pPr marL="0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Tx/>
              <a:buSzPts val="1400"/>
              <a:buFont typeface=""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sym typeface="Trebuchet MS" panose="020B0603020202020204" pitchFamily="34" charset="0"/>
              </a:rPr>
              <a:t>Москва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sym typeface="Trebuchet MS" panose="020B0603020202020204" pitchFamily="34" charset="0"/>
            </a:endParaRPr>
          </a:p>
        </p:txBody>
      </p:sp>
      <p:sp>
        <p:nvSpPr>
          <p:cNvPr id="12" name="Rectangle 122"/>
          <p:cNvSpPr>
            <a:spLocks noChangeArrowheads="1"/>
          </p:cNvSpPr>
          <p:nvPr userDrawn="1"/>
        </p:nvSpPr>
        <p:spPr bwMode="auto">
          <a:xfrm>
            <a:off x="579787" y="5956804"/>
            <a:ext cx="11028646" cy="55562"/>
          </a:xfrm>
          <a:prstGeom prst="rect">
            <a:avLst/>
          </a:prstGeom>
          <a:gradFill rotWithShape="1">
            <a:gsLst>
              <a:gs pos="0">
                <a:srgbClr val="345782"/>
              </a:gs>
              <a:gs pos="100000">
                <a:srgbClr val="FFFFFF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tIns="91440" bIns="9144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69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492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9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1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4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65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0617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8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1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3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76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31603194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207" name="Слайд think-cell" r:id="rId72" imgW="270" imgH="270" progId="TCLayout.ActiveDocument.1">
                  <p:embed/>
                </p:oleObj>
              </mc:Choice>
              <mc:Fallback>
                <p:oleObj name="Слайд think-cell" r:id="rId7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086" r:id="rId2"/>
    <p:sldLayoutId id="2147485183" r:id="rId3"/>
    <p:sldLayoutId id="2147485158" r:id="rId4"/>
    <p:sldLayoutId id="2147485113" r:id="rId5"/>
    <p:sldLayoutId id="2147485114" r:id="rId6"/>
    <p:sldLayoutId id="2147485154" r:id="rId7"/>
    <p:sldLayoutId id="2147485162" r:id="rId8"/>
    <p:sldLayoutId id="2147485149" r:id="rId9"/>
    <p:sldLayoutId id="2147485087" r:id="rId10"/>
    <p:sldLayoutId id="2147485112" r:id="rId11"/>
    <p:sldLayoutId id="2147485155" r:id="rId12"/>
    <p:sldLayoutId id="2147485164" r:id="rId13"/>
    <p:sldLayoutId id="2147485109" r:id="rId14"/>
    <p:sldLayoutId id="2147485165" r:id="rId15"/>
    <p:sldLayoutId id="2147485110" r:id="rId16"/>
    <p:sldLayoutId id="2147485166" r:id="rId17"/>
    <p:sldLayoutId id="2147485156" r:id="rId18"/>
    <p:sldLayoutId id="2147485167" r:id="rId19"/>
    <p:sldLayoutId id="2147485108" r:id="rId20"/>
    <p:sldLayoutId id="2147485107" r:id="rId21"/>
    <p:sldLayoutId id="2147485106" r:id="rId22"/>
    <p:sldLayoutId id="2147485090" r:id="rId23"/>
    <p:sldLayoutId id="2147485091" r:id="rId24"/>
    <p:sldLayoutId id="2147485092" r:id="rId25"/>
    <p:sldLayoutId id="2147485093" r:id="rId26"/>
    <p:sldLayoutId id="2147485116" r:id="rId27"/>
    <p:sldLayoutId id="2147485161" r:id="rId28"/>
    <p:sldLayoutId id="2147485159" r:id="rId29"/>
    <p:sldLayoutId id="2147485119" r:id="rId30"/>
    <p:sldLayoutId id="2147485184" r:id="rId31"/>
    <p:sldLayoutId id="2147485137" r:id="rId32"/>
    <p:sldLayoutId id="2147485120" r:id="rId33"/>
    <p:sldLayoutId id="2147485121" r:id="rId34"/>
    <p:sldLayoutId id="2147485141" r:id="rId35"/>
    <p:sldLayoutId id="2147485163" r:id="rId36"/>
    <p:sldLayoutId id="2147485139" r:id="rId37"/>
    <p:sldLayoutId id="2147485140" r:id="rId38"/>
    <p:sldLayoutId id="2147485122" r:id="rId39"/>
    <p:sldLayoutId id="2147485123" r:id="rId40"/>
    <p:sldLayoutId id="2147485151" r:id="rId41"/>
    <p:sldLayoutId id="2147485168" r:id="rId42"/>
    <p:sldLayoutId id="2147485127" r:id="rId43"/>
    <p:sldLayoutId id="2147485169" r:id="rId44"/>
    <p:sldLayoutId id="2147485126" r:id="rId45"/>
    <p:sldLayoutId id="2147485170" r:id="rId46"/>
    <p:sldLayoutId id="2147485153" r:id="rId47"/>
    <p:sldLayoutId id="2147485171" r:id="rId48"/>
    <p:sldLayoutId id="2147485128" r:id="rId49"/>
    <p:sldLayoutId id="2147485129" r:id="rId50"/>
    <p:sldLayoutId id="2147485130" r:id="rId51"/>
    <p:sldLayoutId id="2147485131" r:id="rId52"/>
    <p:sldLayoutId id="2147485145" r:id="rId53"/>
    <p:sldLayoutId id="2147485133" r:id="rId54"/>
    <p:sldLayoutId id="2147485144" r:id="rId55"/>
    <p:sldLayoutId id="2147485134" r:id="rId56"/>
    <p:sldLayoutId id="2147485146" r:id="rId57"/>
    <p:sldLayoutId id="2147485160" r:id="rId58"/>
    <p:sldLayoutId id="2147485172" r:id="rId59"/>
    <p:sldLayoutId id="2147485173" r:id="rId60"/>
    <p:sldLayoutId id="2147485174" r:id="rId61"/>
    <p:sldLayoutId id="2147485175" r:id="rId62"/>
    <p:sldLayoutId id="2147485176" r:id="rId63"/>
    <p:sldLayoutId id="2147485177" r:id="rId64"/>
    <p:sldLayoutId id="2147485178" r:id="rId65"/>
    <p:sldLayoutId id="2147485179" r:id="rId66"/>
    <p:sldLayoutId id="2147485180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hyperlink" Target="https://old.asi.ru/investclimate/" TargetMode="External"/><Relationship Id="rId2" Type="http://schemas.openxmlformats.org/officeDocument/2006/relationships/tags" Target="../tags/tag2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/>
              <a:t>Региональный стандарт </a:t>
            </a:r>
          </a:p>
        </p:txBody>
      </p:sp>
    </p:spTree>
    <p:extLst>
      <p:ext uri="{BB962C8B-B14F-4D97-AF65-F5344CB8AC3E}">
        <p14:creationId xmlns:p14="http://schemas.microsoft.com/office/powerpoint/2010/main" val="2300773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A8BDE5D-53FC-4980-9788-D75EBAA861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26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DE7EB8D-C1BE-4D60-9B1C-43C55B8E6A7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0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D2008A-0515-4C18-ACC9-7FFB0B37A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801" y="2681103"/>
            <a:ext cx="3127881" cy="1495794"/>
          </a:xfrm>
        </p:spPr>
        <p:txBody>
          <a:bodyPr vert="horz"/>
          <a:lstStyle/>
          <a:p>
            <a:r>
              <a:rPr lang="ru-RU" dirty="0"/>
              <a:t>Особенности работы в 2022 году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4215082" y="511127"/>
            <a:ext cx="6673497" cy="533627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Анализируем старый региональный инвестиционный стандарт</a:t>
            </a:r>
            <a:r>
              <a:rPr lang="en-US" b="1" dirty="0">
                <a:solidFill>
                  <a:schemeClr val="tx1"/>
                </a:solidFill>
              </a:rPr>
              <a:t> </a:t>
            </a:r>
          </a:p>
          <a:p>
            <a:pPr marL="342900" indent="-342900">
              <a:buAutoNum type="arabicPeriod"/>
            </a:pPr>
            <a:r>
              <a:rPr lang="ru-RU" dirty="0">
                <a:hlinkClick r:id="rId7"/>
              </a:rPr>
              <a:t>Улучшение инвестиционного климата (</a:t>
            </a:r>
            <a:r>
              <a:rPr lang="en-US" dirty="0">
                <a:hlinkClick r:id="rId7"/>
              </a:rPr>
              <a:t>asi.ru)</a:t>
            </a:r>
            <a:endParaRPr lang="ru-RU" b="1" dirty="0">
              <a:solidFill>
                <a:schemeClr val="tx1"/>
              </a:solidFill>
            </a:endParaRPr>
          </a:p>
          <a:p>
            <a:pPr marL="342900" indent="-342900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Параллельно идет процесс по новому стандарту во главе </a:t>
            </a:r>
          </a:p>
          <a:p>
            <a:r>
              <a:rPr lang="ru-RU" b="1" dirty="0">
                <a:solidFill>
                  <a:schemeClr val="tx1"/>
                </a:solidFill>
              </a:rPr>
              <a:t>с Деловой Россией </a:t>
            </a:r>
          </a:p>
          <a:p>
            <a:r>
              <a:rPr lang="ru-RU" b="1" dirty="0">
                <a:solidFill>
                  <a:schemeClr val="tx1"/>
                </a:solidFill>
              </a:rPr>
              <a:t>3. Работаем с экспертной сетью  и потом объединяемся с Деловой</a:t>
            </a:r>
          </a:p>
          <a:p>
            <a:r>
              <a:rPr lang="ru-RU" b="1" dirty="0">
                <a:solidFill>
                  <a:schemeClr val="tx1"/>
                </a:solidFill>
              </a:rPr>
              <a:t>Россией  </a:t>
            </a:r>
          </a:p>
        </p:txBody>
      </p:sp>
    </p:spTree>
    <p:extLst>
      <p:ext uri="{BB962C8B-B14F-4D97-AF65-F5344CB8AC3E}">
        <p14:creationId xmlns:p14="http://schemas.microsoft.com/office/powerpoint/2010/main" val="1133734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новные шаги (чек лист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574631" y="1167387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»</a:t>
            </a: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2961122426"/>
              </p:ext>
            </p:extLst>
          </p:nvPr>
        </p:nvGraphicFramePr>
        <p:xfrm>
          <a:off x="4064000" y="551224"/>
          <a:ext cx="8128000" cy="64150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40617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_DRAFT" val="0"/>
  <p:tag name="EE4P_LANGUAGE_ID" val="1033"/>
  <p:tag name="EE4P_MASTERWIZARD_MARGINS" val="0"/>
  <p:tag name="EE4P_STYLE_NAME" val="ACN Grid 16:9"/>
  <p:tag name="THINKCELLPRESENTATIONDONOTDELETE" val="&lt;?xml version=&quot;1.0&quot; encoding=&quot;UTF-16&quot; standalone=&quot;yes&quot;?&gt;&lt;root reqver=&quot;25060&quot;&gt;&lt;version val=&quot;2822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2.43900000000000005684E+00&quot;&gt;&lt;m_msothmcolidx val=&quot;0&quot;/&gt;&lt;m_rgb r=&quot;29&quot; g=&quot;BA&quot; b=&quot;74&quot;/&gt;&lt;m_nBrightness endver=&quot;26206&quot; val=&quot;0&quot;/&gt;&lt;/elem&gt;&lt;elem m_fUsage=&quot;1.00000000000000000000E+00&quot;&gt;&lt;m_msothmcolidx val=&quot;0&quot;/&gt;&lt;m_rgb r=&quot;D4&quot; g=&quot;DF&quot; b=&quot;33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EE4P_STYLE_ID" val="EDblBnwS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ro_xZa86Moc63RsnAo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BvlfLO3yr4GpBfQ7sH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N Grid 16:9 - 12762">
  <a:themeElements>
    <a:clrScheme name="12762">
      <a:dk1>
        <a:srgbClr val="000000"/>
      </a:dk1>
      <a:lt1>
        <a:srgbClr val="FFFFFF"/>
      </a:lt1>
      <a:dk2>
        <a:srgbClr val="345782"/>
      </a:dk2>
      <a:lt2>
        <a:srgbClr val="F2F2F2"/>
      </a:lt2>
      <a:accent1>
        <a:srgbClr val="0F1A27"/>
      </a:accent1>
      <a:accent2>
        <a:srgbClr val="223A58"/>
      </a:accent2>
      <a:accent3>
        <a:srgbClr val="50D8D8"/>
      </a:accent3>
      <a:accent4>
        <a:srgbClr val="5784BE"/>
      </a:accent4>
      <a:accent5>
        <a:srgbClr val="777777"/>
      </a:accent5>
      <a:accent6>
        <a:srgbClr val="ABDB77"/>
      </a:accent6>
      <a:hlink>
        <a:srgbClr val="4A8087"/>
      </a:hlink>
      <a:folHlink>
        <a:srgbClr val="A9CBD0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777777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842</TotalTime>
  <Words>98</Words>
  <Application>Microsoft Macintosh PowerPoint</Application>
  <PresentationFormat>Широкоэкранный</PresentationFormat>
  <Paragraphs>25</Paragraphs>
  <Slides>3</Slides>
  <Notes>0</Notes>
  <HiddenSlides>0</HiddenSlides>
  <MMClips>0</MMClips>
  <ScaleCrop>false</ScaleCrop>
  <HeadingPairs>
    <vt:vector size="10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3</vt:i4>
      </vt:variant>
      <vt:variant>
        <vt:lpstr>Произвольные показы</vt:lpstr>
      </vt:variant>
      <vt:variant>
        <vt:i4>1</vt:i4>
      </vt:variant>
    </vt:vector>
  </HeadingPairs>
  <TitlesOfParts>
    <vt:vector size="9" baseType="lpstr">
      <vt:lpstr>Arial</vt:lpstr>
      <vt:lpstr>Trebuchet MS</vt:lpstr>
      <vt:lpstr>ACN Grid 16:9 - 12762</vt:lpstr>
      <vt:lpstr>Слайд think-cell</vt:lpstr>
      <vt:lpstr>think-cell Slide</vt:lpstr>
      <vt:lpstr>Презентация PowerPoint</vt:lpstr>
      <vt:lpstr>Особенности работы в 2022 году</vt:lpstr>
      <vt:lpstr>Основные шаги (чек лист)</vt:lpstr>
      <vt:lpstr>Format Guide Workshop</vt:lpstr>
    </vt:vector>
  </TitlesOfParts>
  <Manager/>
  <Company>The Boston Consulting Group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he Boston Consulting Group</dc:creator>
  <cp:keywords/>
  <dc:description/>
  <cp:lastModifiedBy>Microsoft Office User</cp:lastModifiedBy>
  <cp:revision>1427</cp:revision>
  <cp:lastPrinted>2022-02-14T07:23:07Z</cp:lastPrinted>
  <dcterms:created xsi:type="dcterms:W3CDTF">2020-07-08T22:00:42Z</dcterms:created>
  <dcterms:modified xsi:type="dcterms:W3CDTF">2022-03-02T10:51:3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</Properties>
</file>